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4006" r:id="rId2"/>
  </p:sldMasterIdLst>
  <p:notesMasterIdLst>
    <p:notesMasterId r:id="rId8"/>
  </p:notesMasterIdLst>
  <p:handoutMasterIdLst>
    <p:handoutMasterId r:id="rId9"/>
  </p:handoutMasterIdLst>
  <p:sldIdLst>
    <p:sldId id="2243" r:id="rId3"/>
    <p:sldId id="2399" r:id="rId4"/>
    <p:sldId id="2435" r:id="rId5"/>
    <p:sldId id="2434" r:id="rId6"/>
    <p:sldId id="2436" r:id="rId7"/>
  </p:sldIdLst>
  <p:sldSz cx="12192000" cy="6858000"/>
  <p:notesSz cx="7315200" cy="9601200"/>
  <p:custDataLst>
    <p:tags r:id="rId1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итульник" id="{D1ECB393-3818-4AA4-A937-81551A49DCCE}">
          <p14:sldIdLst>
            <p14:sldId id="2243"/>
          </p14:sldIdLst>
        </p14:section>
        <p14:section name="Почта России AS-IS" id="{3417F04C-FB4E-4024-9529-E71FA5562ABB}">
          <p14:sldIdLst>
            <p14:sldId id="2399"/>
            <p14:sldId id="2435"/>
            <p14:sldId id="2434"/>
            <p14:sldId id="2436"/>
          </p14:sldIdLst>
        </p14:section>
      </p14:sectionLst>
    </p:ext>
    <p:ext uri="{EFAFB233-063F-42B5-8137-9DF3F51BA10A}">
      <p15:sldGuideLst xmlns:p15="http://schemas.microsoft.com/office/powerpoint/2012/main">
        <p15:guide id="2" pos="4203" userDrawn="1">
          <p15:clr>
            <a:srgbClr val="A4A3A4"/>
          </p15:clr>
        </p15:guide>
        <p15:guide id="4" pos="4089" userDrawn="1">
          <p15:clr>
            <a:srgbClr val="A4A3A4"/>
          </p15:clr>
        </p15:guide>
        <p15:guide id="5" pos="5722" userDrawn="1">
          <p15:clr>
            <a:srgbClr val="A4A3A4"/>
          </p15:clr>
        </p15:guide>
        <p15:guide id="6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аксим Миненко" initials="ММ" lastIdx="1" clrIdx="0">
    <p:extLst>
      <p:ext uri="{19B8F6BF-5375-455C-9EA6-DF929625EA0E}">
        <p15:presenceInfo xmlns:p15="http://schemas.microsoft.com/office/powerpoint/2012/main" userId="bc131a4bb11ec0d1" providerId="Windows Live"/>
      </p:ext>
    </p:extLst>
  </p:cmAuthor>
  <p:cmAuthor id="2" name="XL" initials="A" lastIdx="1" clrIdx="1">
    <p:extLst>
      <p:ext uri="{19B8F6BF-5375-455C-9EA6-DF929625EA0E}">
        <p15:presenceInfo xmlns:p15="http://schemas.microsoft.com/office/powerpoint/2012/main" userId="X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074F9"/>
    <a:srgbClr val="000000"/>
    <a:srgbClr val="00B050"/>
    <a:srgbClr val="6ACCA7"/>
    <a:srgbClr val="FFD553"/>
    <a:srgbClr val="7F7F7F"/>
    <a:srgbClr val="0925E2"/>
    <a:srgbClr val="B96A00"/>
    <a:srgbClr val="ED8B00"/>
    <a:srgbClr val="C5B7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12C8C85-51F0-491E-9774-3900AFEF0FD7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7CE84F3-28C3-443E-9E96-99CF82512B78}" styleName="Темный стиль 1 —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63" autoAdjust="0"/>
    <p:restoredTop sz="96201" autoAdjust="0"/>
  </p:normalViewPr>
  <p:slideViewPr>
    <p:cSldViewPr snapToGrid="0">
      <p:cViewPr>
        <p:scale>
          <a:sx n="100" d="100"/>
          <a:sy n="100" d="100"/>
        </p:scale>
        <p:origin x="450" y="72"/>
      </p:cViewPr>
      <p:guideLst>
        <p:guide pos="4203"/>
        <p:guide pos="4089"/>
        <p:guide pos="5722"/>
        <p:guide orient="horz" pos="2160"/>
      </p:guideLst>
    </p:cSldViewPr>
  </p:slideViewPr>
  <p:outlineViewPr>
    <p:cViewPr>
      <p:scale>
        <a:sx n="33" d="100"/>
        <a:sy n="33" d="100"/>
      </p:scale>
      <p:origin x="0" y="-12645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10" d="100"/>
        <a:sy n="110" d="100"/>
      </p:scale>
      <p:origin x="0" y="-29112"/>
    </p:cViewPr>
  </p:sorterViewPr>
  <p:notesViewPr>
    <p:cSldViewPr snapToGrid="0" showGuides="1">
      <p:cViewPr varScale="1">
        <p:scale>
          <a:sx n="77" d="100"/>
          <a:sy n="77" d="100"/>
        </p:scale>
        <p:origin x="3960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03BD23C-1664-438A-BCBF-E811A9F863B8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714D0027-C4EA-43D5-A48E-4169CD9CAE5D}">
      <dgm:prSet phldrT="[Текст]" custT="1"/>
      <dgm:spPr/>
      <dgm:t>
        <a:bodyPr/>
        <a:lstStyle/>
        <a:p>
          <a:pPr algn="l" rtl="0"/>
          <a:r>
            <a:rPr lang="ru-RU" sz="1800" dirty="0" smtClean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Существенные законодательные ограничения для коммерческого использования в логистических задачах  </a:t>
          </a:r>
          <a:endParaRPr lang="ru-RU" sz="2000" dirty="0"/>
        </a:p>
      </dgm:t>
    </dgm:pt>
    <dgm:pt modelId="{53EC82FA-F42B-4597-877D-69DE930FF1B2}" type="parTrans" cxnId="{FAD533D1-0631-435F-96BC-7106C59BFCC6}">
      <dgm:prSet/>
      <dgm:spPr/>
      <dgm:t>
        <a:bodyPr/>
        <a:lstStyle/>
        <a:p>
          <a:endParaRPr lang="ru-RU"/>
        </a:p>
      </dgm:t>
    </dgm:pt>
    <dgm:pt modelId="{CB330801-9235-4AC8-A195-3D2381BC7142}" type="sibTrans" cxnId="{FAD533D1-0631-435F-96BC-7106C59BFCC6}">
      <dgm:prSet/>
      <dgm:spPr/>
      <dgm:t>
        <a:bodyPr/>
        <a:lstStyle/>
        <a:p>
          <a:endParaRPr lang="ru-RU"/>
        </a:p>
      </dgm:t>
    </dgm:pt>
    <dgm:pt modelId="{96DB4496-8CD5-44C4-9222-9B0A3AB29D18}">
      <dgm:prSet phldrT="[Текст]" custT="1"/>
      <dgm:spPr/>
      <dgm:t>
        <a:bodyPr/>
        <a:lstStyle/>
        <a:p>
          <a:r>
            <a:rPr lang="ru-RU" sz="1800" dirty="0" smtClean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Технические аспекты готовности к масштабному использованию в регулярном режиме </a:t>
          </a:r>
          <a:endParaRPr lang="ru-RU" sz="1800" dirty="0"/>
        </a:p>
      </dgm:t>
    </dgm:pt>
    <dgm:pt modelId="{AEDF6AFF-4115-4BB4-985F-94F4312B05B1}" type="parTrans" cxnId="{5C1CA947-7397-426F-B9E0-32EB04F42B15}">
      <dgm:prSet/>
      <dgm:spPr/>
      <dgm:t>
        <a:bodyPr/>
        <a:lstStyle/>
        <a:p>
          <a:endParaRPr lang="ru-RU"/>
        </a:p>
      </dgm:t>
    </dgm:pt>
    <dgm:pt modelId="{F75FF070-F0A8-4E8B-80E7-68352FBCC1B1}" type="sibTrans" cxnId="{5C1CA947-7397-426F-B9E0-32EB04F42B15}">
      <dgm:prSet/>
      <dgm:spPr/>
      <dgm:t>
        <a:bodyPr/>
        <a:lstStyle/>
        <a:p>
          <a:endParaRPr lang="ru-RU"/>
        </a:p>
      </dgm:t>
    </dgm:pt>
    <dgm:pt modelId="{08667F28-0930-44D2-8108-6F40F2875DF0}">
      <dgm:prSet phldrT="[Текст]" custT="1"/>
      <dgm:spPr/>
      <dgm:t>
        <a:bodyPr/>
        <a:lstStyle/>
        <a:p>
          <a:r>
            <a:rPr lang="ru-RU" sz="1800" dirty="0" smtClean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Наземная инфраструктура и изменение логистических процессов </a:t>
          </a:r>
          <a:endParaRPr lang="ru-RU" sz="1800" dirty="0"/>
        </a:p>
      </dgm:t>
    </dgm:pt>
    <dgm:pt modelId="{F7B750B6-6A42-4999-8AD1-EE9A6F1C751D}" type="sibTrans" cxnId="{FF20A09D-DE25-4BC3-A2CD-579EE6B40E91}">
      <dgm:prSet/>
      <dgm:spPr/>
      <dgm:t>
        <a:bodyPr/>
        <a:lstStyle/>
        <a:p>
          <a:endParaRPr lang="ru-RU"/>
        </a:p>
      </dgm:t>
    </dgm:pt>
    <dgm:pt modelId="{4D5890D1-D29F-46F7-A36A-6E36B86A45A6}" type="parTrans" cxnId="{FF20A09D-DE25-4BC3-A2CD-579EE6B40E91}">
      <dgm:prSet/>
      <dgm:spPr/>
      <dgm:t>
        <a:bodyPr/>
        <a:lstStyle/>
        <a:p>
          <a:endParaRPr lang="ru-RU"/>
        </a:p>
      </dgm:t>
    </dgm:pt>
    <dgm:pt modelId="{737573FE-A9D8-4944-A67D-8D0DDD7DAFA6}">
      <dgm:prSet phldrT="[Текст]" custT="1"/>
      <dgm:spPr/>
      <dgm:t>
        <a:bodyPr/>
        <a:lstStyle/>
        <a:p>
          <a:r>
            <a:rPr lang="ru-RU" sz="1800" dirty="0" smtClean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Ценовая конкуренция с классической авиацией</a:t>
          </a:r>
          <a:endParaRPr lang="ru-RU" sz="1800" dirty="0"/>
        </a:p>
      </dgm:t>
    </dgm:pt>
    <dgm:pt modelId="{A50FF2DA-7F71-4091-B6D6-11FE6DA698C3}" type="sibTrans" cxnId="{91AFCEA6-D123-4DDF-BCE7-E84FC45703A0}">
      <dgm:prSet/>
      <dgm:spPr/>
      <dgm:t>
        <a:bodyPr/>
        <a:lstStyle/>
        <a:p>
          <a:endParaRPr lang="ru-RU"/>
        </a:p>
      </dgm:t>
    </dgm:pt>
    <dgm:pt modelId="{A73B54C3-4CEE-4795-A209-57C3B06C892A}" type="parTrans" cxnId="{91AFCEA6-D123-4DDF-BCE7-E84FC45703A0}">
      <dgm:prSet/>
      <dgm:spPr/>
      <dgm:t>
        <a:bodyPr/>
        <a:lstStyle/>
        <a:p>
          <a:endParaRPr lang="ru-RU"/>
        </a:p>
      </dgm:t>
    </dgm:pt>
    <dgm:pt modelId="{A786A9D7-FF25-4600-94AC-CC9033E55BD3}" type="pres">
      <dgm:prSet presAssocID="{803BD23C-1664-438A-BCBF-E811A9F863B8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617A2043-9CCD-4A2F-97F0-C7635C98FE80}" type="pres">
      <dgm:prSet presAssocID="{803BD23C-1664-438A-BCBF-E811A9F863B8}" presName="Name1" presStyleCnt="0"/>
      <dgm:spPr/>
    </dgm:pt>
    <dgm:pt modelId="{067527F5-D043-43D5-B263-F5CA9A212232}" type="pres">
      <dgm:prSet presAssocID="{803BD23C-1664-438A-BCBF-E811A9F863B8}" presName="cycle" presStyleCnt="0"/>
      <dgm:spPr/>
    </dgm:pt>
    <dgm:pt modelId="{B34F127E-8BED-4A50-94E0-E0F398AA650B}" type="pres">
      <dgm:prSet presAssocID="{803BD23C-1664-438A-BCBF-E811A9F863B8}" presName="srcNode" presStyleLbl="node1" presStyleIdx="0" presStyleCnt="4"/>
      <dgm:spPr/>
    </dgm:pt>
    <dgm:pt modelId="{24D8BD90-90B8-4A29-8B1A-E168AA8E9229}" type="pres">
      <dgm:prSet presAssocID="{803BD23C-1664-438A-BCBF-E811A9F863B8}" presName="conn" presStyleLbl="parChTrans1D2" presStyleIdx="0" presStyleCnt="1"/>
      <dgm:spPr/>
      <dgm:t>
        <a:bodyPr/>
        <a:lstStyle/>
        <a:p>
          <a:endParaRPr lang="ru-RU"/>
        </a:p>
      </dgm:t>
    </dgm:pt>
    <dgm:pt modelId="{E271198F-432F-42DB-AD33-D387B3E7BA53}" type="pres">
      <dgm:prSet presAssocID="{803BD23C-1664-438A-BCBF-E811A9F863B8}" presName="extraNode" presStyleLbl="node1" presStyleIdx="0" presStyleCnt="4"/>
      <dgm:spPr/>
    </dgm:pt>
    <dgm:pt modelId="{0F7D9988-B010-4136-9536-566A5EB4B573}" type="pres">
      <dgm:prSet presAssocID="{803BD23C-1664-438A-BCBF-E811A9F863B8}" presName="dstNode" presStyleLbl="node1" presStyleIdx="0" presStyleCnt="4"/>
      <dgm:spPr/>
    </dgm:pt>
    <dgm:pt modelId="{D47AD1E1-4987-4473-9B3B-CDF5AB2DBFB7}" type="pres">
      <dgm:prSet presAssocID="{714D0027-C4EA-43D5-A48E-4169CD9CAE5D}" presName="text_1" presStyleLbl="node1" presStyleIdx="0" presStyleCnt="4" custScaleX="93009" custLinFactNeighborX="-2543" custLinFactNeighborY="-188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54401C-1423-4270-B9AB-071D2E07AA96}" type="pres">
      <dgm:prSet presAssocID="{714D0027-C4EA-43D5-A48E-4169CD9CAE5D}" presName="accent_1" presStyleCnt="0"/>
      <dgm:spPr/>
    </dgm:pt>
    <dgm:pt modelId="{B83C0676-9E68-4717-BB74-C1CC63B7F715}" type="pres">
      <dgm:prSet presAssocID="{714D0027-C4EA-43D5-A48E-4169CD9CAE5D}" presName="accentRepeatNode" presStyleLbl="solidFgAcc1" presStyleIdx="0" presStyleCnt="4" custLinFactNeighborX="-2767" custLinFactNeighborY="-11422"/>
      <dgm:spPr>
        <a:solidFill>
          <a:schemeClr val="tx2"/>
        </a:solidFill>
      </dgm:spPr>
      <dgm:t>
        <a:bodyPr/>
        <a:lstStyle/>
        <a:p>
          <a:endParaRPr lang="ru-RU"/>
        </a:p>
      </dgm:t>
    </dgm:pt>
    <dgm:pt modelId="{7CD4156F-9CBC-4492-9D80-F0D5E83B1758}" type="pres">
      <dgm:prSet presAssocID="{96DB4496-8CD5-44C4-9222-9B0A3AB29D18}" presName="text_2" presStyleLbl="node1" presStyleIdx="1" presStyleCnt="4" custScaleX="90169" custLinFactNeighborX="-1115" custLinFactNeighborY="-1848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C39555-4576-44A6-9C50-A6FA4530A67E}" type="pres">
      <dgm:prSet presAssocID="{96DB4496-8CD5-44C4-9222-9B0A3AB29D18}" presName="accent_2" presStyleCnt="0"/>
      <dgm:spPr/>
    </dgm:pt>
    <dgm:pt modelId="{61919819-C1D1-41D3-B79E-F792E8D5AD65}" type="pres">
      <dgm:prSet presAssocID="{96DB4496-8CD5-44C4-9222-9B0A3AB29D18}" presName="accentRepeatNode" presStyleLbl="solidFgAcc1" presStyleIdx="1" presStyleCnt="4" custLinFactNeighborX="5088" custLinFactNeighborY="-16597"/>
      <dgm:spPr>
        <a:solidFill>
          <a:schemeClr val="tx2"/>
        </a:solidFill>
      </dgm:spPr>
      <dgm:t>
        <a:bodyPr/>
        <a:lstStyle/>
        <a:p>
          <a:endParaRPr lang="ru-RU"/>
        </a:p>
      </dgm:t>
    </dgm:pt>
    <dgm:pt modelId="{8AA0219F-FA4F-4EFF-A72D-6D9051625AFB}" type="pres">
      <dgm:prSet presAssocID="{737573FE-A9D8-4944-A67D-8D0DDD7DAFA6}" presName="text_3" presStyleLbl="node1" presStyleIdx="2" presStyleCnt="4" custScaleX="90390" custLinFactNeighborX="-1409" custLinFactNeighborY="-1428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56E6CB-A671-44DD-9E80-B86B70613C22}" type="pres">
      <dgm:prSet presAssocID="{737573FE-A9D8-4944-A67D-8D0DDD7DAFA6}" presName="accent_3" presStyleCnt="0"/>
      <dgm:spPr/>
    </dgm:pt>
    <dgm:pt modelId="{F3868332-4606-4BC0-BB01-408DAD3EC356}" type="pres">
      <dgm:prSet presAssocID="{737573FE-A9D8-4944-A67D-8D0DDD7DAFA6}" presName="accentRepeatNode" presStyleLbl="solidFgAcc1" presStyleIdx="2" presStyleCnt="4" custLinFactNeighborX="9731" custLinFactNeighborY="-8966"/>
      <dgm:spPr>
        <a:solidFill>
          <a:schemeClr val="tx2"/>
        </a:solidFill>
      </dgm:spPr>
      <dgm:t>
        <a:bodyPr/>
        <a:lstStyle/>
        <a:p>
          <a:endParaRPr lang="ru-RU"/>
        </a:p>
      </dgm:t>
    </dgm:pt>
    <dgm:pt modelId="{54276ED2-9B07-45BD-A219-437305B2269D}" type="pres">
      <dgm:prSet presAssocID="{08667F28-0930-44D2-8108-6F40F2875DF0}" presName="text_4" presStyleLbl="node1" presStyleIdx="3" presStyleCnt="4" custScaleX="90123" custLinFactNeighborX="-363" custLinFactNeighborY="-77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571DF5-5385-4EF8-958D-3BBA2DB11BB4}" type="pres">
      <dgm:prSet presAssocID="{08667F28-0930-44D2-8108-6F40F2875DF0}" presName="accent_4" presStyleCnt="0"/>
      <dgm:spPr/>
    </dgm:pt>
    <dgm:pt modelId="{E3A939AF-5342-466F-BC9C-09D38577A368}" type="pres">
      <dgm:prSet presAssocID="{08667F28-0930-44D2-8108-6F40F2875DF0}" presName="accentRepeatNode" presStyleLbl="solidFgAcc1" presStyleIdx="3" presStyleCnt="4" custFlipHor="0" custScaleX="9569" custScaleY="26438" custLinFactY="-100000" custLinFactNeighborX="-65018" custLinFactNeighborY="-101766"/>
      <dgm:spPr>
        <a:prstGeom prst="wedgeEllipseCallout">
          <a:avLst/>
        </a:prstGeom>
        <a:solidFill>
          <a:schemeClr val="bg1"/>
        </a:solidFill>
        <a:ln>
          <a:solidFill>
            <a:schemeClr val="bg1"/>
          </a:solidFill>
        </a:ln>
      </dgm:spPr>
    </dgm:pt>
  </dgm:ptLst>
  <dgm:cxnLst>
    <dgm:cxn modelId="{8EE9BFA0-1940-4A41-8DED-C1F2C5DCDF0A}" type="presOf" srcId="{CB330801-9235-4AC8-A195-3D2381BC7142}" destId="{24D8BD90-90B8-4A29-8B1A-E168AA8E9229}" srcOrd="0" destOrd="0" presId="urn:microsoft.com/office/officeart/2008/layout/VerticalCurvedList"/>
    <dgm:cxn modelId="{5CB25DD7-5191-43B7-8EF8-C1C2C7D61813}" type="presOf" srcId="{96DB4496-8CD5-44C4-9222-9B0A3AB29D18}" destId="{7CD4156F-9CBC-4492-9D80-F0D5E83B1758}" srcOrd="0" destOrd="0" presId="urn:microsoft.com/office/officeart/2008/layout/VerticalCurvedList"/>
    <dgm:cxn modelId="{61ED8D77-6D43-48D5-A49D-C73879875A7D}" type="presOf" srcId="{08667F28-0930-44D2-8108-6F40F2875DF0}" destId="{54276ED2-9B07-45BD-A219-437305B2269D}" srcOrd="0" destOrd="0" presId="urn:microsoft.com/office/officeart/2008/layout/VerticalCurvedList"/>
    <dgm:cxn modelId="{5C1CA947-7397-426F-B9E0-32EB04F42B15}" srcId="{803BD23C-1664-438A-BCBF-E811A9F863B8}" destId="{96DB4496-8CD5-44C4-9222-9B0A3AB29D18}" srcOrd="1" destOrd="0" parTransId="{AEDF6AFF-4115-4BB4-985F-94F4312B05B1}" sibTransId="{F75FF070-F0A8-4E8B-80E7-68352FBCC1B1}"/>
    <dgm:cxn modelId="{4DCB17DA-5E40-4DA7-85A4-B0A5EE0C65CC}" type="presOf" srcId="{737573FE-A9D8-4944-A67D-8D0DDD7DAFA6}" destId="{8AA0219F-FA4F-4EFF-A72D-6D9051625AFB}" srcOrd="0" destOrd="0" presId="urn:microsoft.com/office/officeart/2008/layout/VerticalCurvedList"/>
    <dgm:cxn modelId="{91AFCEA6-D123-4DDF-BCE7-E84FC45703A0}" srcId="{803BD23C-1664-438A-BCBF-E811A9F863B8}" destId="{737573FE-A9D8-4944-A67D-8D0DDD7DAFA6}" srcOrd="2" destOrd="0" parTransId="{A73B54C3-4CEE-4795-A209-57C3B06C892A}" sibTransId="{A50FF2DA-7F71-4091-B6D6-11FE6DA698C3}"/>
    <dgm:cxn modelId="{FF20A09D-DE25-4BC3-A2CD-579EE6B40E91}" srcId="{803BD23C-1664-438A-BCBF-E811A9F863B8}" destId="{08667F28-0930-44D2-8108-6F40F2875DF0}" srcOrd="3" destOrd="0" parTransId="{4D5890D1-D29F-46F7-A36A-6E36B86A45A6}" sibTransId="{F7B750B6-6A42-4999-8AD1-EE9A6F1C751D}"/>
    <dgm:cxn modelId="{FAD533D1-0631-435F-96BC-7106C59BFCC6}" srcId="{803BD23C-1664-438A-BCBF-E811A9F863B8}" destId="{714D0027-C4EA-43D5-A48E-4169CD9CAE5D}" srcOrd="0" destOrd="0" parTransId="{53EC82FA-F42B-4597-877D-69DE930FF1B2}" sibTransId="{CB330801-9235-4AC8-A195-3D2381BC7142}"/>
    <dgm:cxn modelId="{DDCCA84B-32FF-469C-9488-4F5FC0950925}" type="presOf" srcId="{803BD23C-1664-438A-BCBF-E811A9F863B8}" destId="{A786A9D7-FF25-4600-94AC-CC9033E55BD3}" srcOrd="0" destOrd="0" presId="urn:microsoft.com/office/officeart/2008/layout/VerticalCurvedList"/>
    <dgm:cxn modelId="{FA456DB1-5929-4C6B-8B71-EB3FE787CAFB}" type="presOf" srcId="{714D0027-C4EA-43D5-A48E-4169CD9CAE5D}" destId="{D47AD1E1-4987-4473-9B3B-CDF5AB2DBFB7}" srcOrd="0" destOrd="0" presId="urn:microsoft.com/office/officeart/2008/layout/VerticalCurvedList"/>
    <dgm:cxn modelId="{48FE6BDA-939F-4A7D-B451-2C91B8C1BADD}" type="presParOf" srcId="{A786A9D7-FF25-4600-94AC-CC9033E55BD3}" destId="{617A2043-9CCD-4A2F-97F0-C7635C98FE80}" srcOrd="0" destOrd="0" presId="urn:microsoft.com/office/officeart/2008/layout/VerticalCurvedList"/>
    <dgm:cxn modelId="{2A16B86A-BC06-4CF4-9CCD-0C8C3AB9FC92}" type="presParOf" srcId="{617A2043-9CCD-4A2F-97F0-C7635C98FE80}" destId="{067527F5-D043-43D5-B263-F5CA9A212232}" srcOrd="0" destOrd="0" presId="urn:microsoft.com/office/officeart/2008/layout/VerticalCurvedList"/>
    <dgm:cxn modelId="{2373C1D9-78C0-496E-8C18-AA01B923DDA0}" type="presParOf" srcId="{067527F5-D043-43D5-B263-F5CA9A212232}" destId="{B34F127E-8BED-4A50-94E0-E0F398AA650B}" srcOrd="0" destOrd="0" presId="urn:microsoft.com/office/officeart/2008/layout/VerticalCurvedList"/>
    <dgm:cxn modelId="{0FC48F42-0305-42B3-A86F-A2307D13353D}" type="presParOf" srcId="{067527F5-D043-43D5-B263-F5CA9A212232}" destId="{24D8BD90-90B8-4A29-8B1A-E168AA8E9229}" srcOrd="1" destOrd="0" presId="urn:microsoft.com/office/officeart/2008/layout/VerticalCurvedList"/>
    <dgm:cxn modelId="{38D28817-A091-421D-8377-1E28FBFBF0FD}" type="presParOf" srcId="{067527F5-D043-43D5-B263-F5CA9A212232}" destId="{E271198F-432F-42DB-AD33-D387B3E7BA53}" srcOrd="2" destOrd="0" presId="urn:microsoft.com/office/officeart/2008/layout/VerticalCurvedList"/>
    <dgm:cxn modelId="{7690B3CA-2629-4D9C-A352-34035C4C4F0F}" type="presParOf" srcId="{067527F5-D043-43D5-B263-F5CA9A212232}" destId="{0F7D9988-B010-4136-9536-566A5EB4B573}" srcOrd="3" destOrd="0" presId="urn:microsoft.com/office/officeart/2008/layout/VerticalCurvedList"/>
    <dgm:cxn modelId="{8379DEB4-9C43-4F17-B309-8144B3661EC1}" type="presParOf" srcId="{617A2043-9CCD-4A2F-97F0-C7635C98FE80}" destId="{D47AD1E1-4987-4473-9B3B-CDF5AB2DBFB7}" srcOrd="1" destOrd="0" presId="urn:microsoft.com/office/officeart/2008/layout/VerticalCurvedList"/>
    <dgm:cxn modelId="{D906B3A3-0E9A-4BDE-9E75-BBE2A757C520}" type="presParOf" srcId="{617A2043-9CCD-4A2F-97F0-C7635C98FE80}" destId="{4A54401C-1423-4270-B9AB-071D2E07AA96}" srcOrd="2" destOrd="0" presId="urn:microsoft.com/office/officeart/2008/layout/VerticalCurvedList"/>
    <dgm:cxn modelId="{06EDD451-109D-47AE-8363-12BC82ACE38D}" type="presParOf" srcId="{4A54401C-1423-4270-B9AB-071D2E07AA96}" destId="{B83C0676-9E68-4717-BB74-C1CC63B7F715}" srcOrd="0" destOrd="0" presId="urn:microsoft.com/office/officeart/2008/layout/VerticalCurvedList"/>
    <dgm:cxn modelId="{A2330963-4678-4295-8ECB-11A6CBFA3CEC}" type="presParOf" srcId="{617A2043-9CCD-4A2F-97F0-C7635C98FE80}" destId="{7CD4156F-9CBC-4492-9D80-F0D5E83B1758}" srcOrd="3" destOrd="0" presId="urn:microsoft.com/office/officeart/2008/layout/VerticalCurvedList"/>
    <dgm:cxn modelId="{8EB38565-E41D-40F1-8277-9BFA35495EA4}" type="presParOf" srcId="{617A2043-9CCD-4A2F-97F0-C7635C98FE80}" destId="{23C39555-4576-44A6-9C50-A6FA4530A67E}" srcOrd="4" destOrd="0" presId="urn:microsoft.com/office/officeart/2008/layout/VerticalCurvedList"/>
    <dgm:cxn modelId="{DE897401-C1F6-49DB-B87D-DE5DB3A86E1F}" type="presParOf" srcId="{23C39555-4576-44A6-9C50-A6FA4530A67E}" destId="{61919819-C1D1-41D3-B79E-F792E8D5AD65}" srcOrd="0" destOrd="0" presId="urn:microsoft.com/office/officeart/2008/layout/VerticalCurvedList"/>
    <dgm:cxn modelId="{0CB9FC97-3FE8-406F-B88A-1C9D4580877C}" type="presParOf" srcId="{617A2043-9CCD-4A2F-97F0-C7635C98FE80}" destId="{8AA0219F-FA4F-4EFF-A72D-6D9051625AFB}" srcOrd="5" destOrd="0" presId="urn:microsoft.com/office/officeart/2008/layout/VerticalCurvedList"/>
    <dgm:cxn modelId="{84689AB5-5E73-4347-836C-9A8C1A7629F4}" type="presParOf" srcId="{617A2043-9CCD-4A2F-97F0-C7635C98FE80}" destId="{7356E6CB-A671-44DD-9E80-B86B70613C22}" srcOrd="6" destOrd="0" presId="urn:microsoft.com/office/officeart/2008/layout/VerticalCurvedList"/>
    <dgm:cxn modelId="{FCD91DB1-E63A-4600-BD3B-5994B87341F6}" type="presParOf" srcId="{7356E6CB-A671-44DD-9E80-B86B70613C22}" destId="{F3868332-4606-4BC0-BB01-408DAD3EC356}" srcOrd="0" destOrd="0" presId="urn:microsoft.com/office/officeart/2008/layout/VerticalCurvedList"/>
    <dgm:cxn modelId="{D43192AD-E768-47AD-A7C2-F5C9983A4646}" type="presParOf" srcId="{617A2043-9CCD-4A2F-97F0-C7635C98FE80}" destId="{54276ED2-9B07-45BD-A219-437305B2269D}" srcOrd="7" destOrd="0" presId="urn:microsoft.com/office/officeart/2008/layout/VerticalCurvedList"/>
    <dgm:cxn modelId="{65CF320F-6848-476B-92F3-C71471015815}" type="presParOf" srcId="{617A2043-9CCD-4A2F-97F0-C7635C98FE80}" destId="{ED571DF5-5385-4EF8-958D-3BBA2DB11BB4}" srcOrd="8" destOrd="0" presId="urn:microsoft.com/office/officeart/2008/layout/VerticalCurvedList"/>
    <dgm:cxn modelId="{B047E3B4-91B3-419A-9BE5-98013F57E601}" type="presParOf" srcId="{ED571DF5-5385-4EF8-958D-3BBA2DB11BB4}" destId="{E3A939AF-5342-466F-BC9C-09D38577A36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D8BD90-90B8-4A29-8B1A-E168AA8E9229}">
      <dsp:nvSpPr>
        <dsp:cNvPr id="0" name=""/>
        <dsp:cNvSpPr/>
      </dsp:nvSpPr>
      <dsp:spPr>
        <a:xfrm>
          <a:off x="-5226455" y="-824702"/>
          <a:ext cx="6412790" cy="64127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7AD1E1-4987-4473-9B3B-CDF5AB2DBFB7}">
      <dsp:nvSpPr>
        <dsp:cNvPr id="0" name=""/>
        <dsp:cNvSpPr/>
      </dsp:nvSpPr>
      <dsp:spPr>
        <a:xfrm>
          <a:off x="783653" y="228025"/>
          <a:ext cx="8469534" cy="73279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1659" tIns="45720" rIns="45720" bIns="4572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Существенные законодательные ограничения для коммерческого использования в логистических задачах  </a:t>
          </a:r>
          <a:endParaRPr lang="ru-RU" sz="2000" kern="1200" dirty="0"/>
        </a:p>
      </dsp:txBody>
      <dsp:txXfrm>
        <a:off x="783653" y="228025"/>
        <a:ext cx="8469534" cy="732799"/>
      </dsp:txXfrm>
    </dsp:sp>
    <dsp:sp modelId="{B83C0676-9E68-4717-BB74-C1CC63B7F715}">
      <dsp:nvSpPr>
        <dsp:cNvPr id="0" name=""/>
        <dsp:cNvSpPr/>
      </dsp:nvSpPr>
      <dsp:spPr>
        <a:xfrm>
          <a:off x="213572" y="169983"/>
          <a:ext cx="915999" cy="915999"/>
        </a:xfrm>
        <a:prstGeom prst="ellipse">
          <a:avLst/>
        </a:prstGeom>
        <a:solidFill>
          <a:schemeClr val="tx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D4156F-9CBC-4492-9D80-F0D5E83B1758}">
      <dsp:nvSpPr>
        <dsp:cNvPr id="0" name=""/>
        <dsp:cNvSpPr/>
      </dsp:nvSpPr>
      <dsp:spPr>
        <a:xfrm>
          <a:off x="1447159" y="1330155"/>
          <a:ext cx="7832091" cy="73279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1659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Технические аспекты готовности к масштабному использованию в регулярном режиме </a:t>
          </a:r>
          <a:endParaRPr lang="ru-RU" sz="1800" kern="1200" dirty="0"/>
        </a:p>
      </dsp:txBody>
      <dsp:txXfrm>
        <a:off x="1447159" y="1330155"/>
        <a:ext cx="7832091" cy="732799"/>
      </dsp:txXfrm>
    </dsp:sp>
    <dsp:sp modelId="{61919819-C1D1-41D3-B79E-F792E8D5AD65}">
      <dsp:nvSpPr>
        <dsp:cNvPr id="0" name=""/>
        <dsp:cNvSpPr/>
      </dsp:nvSpPr>
      <dsp:spPr>
        <a:xfrm>
          <a:off x="705654" y="1221970"/>
          <a:ext cx="915999" cy="915999"/>
        </a:xfrm>
        <a:prstGeom prst="ellipse">
          <a:avLst/>
        </a:prstGeom>
        <a:solidFill>
          <a:schemeClr val="tx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A0219F-FA4F-4EFF-A72D-6D9051625AFB}">
      <dsp:nvSpPr>
        <dsp:cNvPr id="0" name=""/>
        <dsp:cNvSpPr/>
      </dsp:nvSpPr>
      <dsp:spPr>
        <a:xfrm>
          <a:off x="1412025" y="2460344"/>
          <a:ext cx="7851288" cy="73279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1659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Ценовая конкуренция с классической авиацией</a:t>
          </a:r>
          <a:endParaRPr lang="ru-RU" sz="1800" kern="1200" dirty="0"/>
        </a:p>
      </dsp:txBody>
      <dsp:txXfrm>
        <a:off x="1412025" y="2460344"/>
        <a:ext cx="7851288" cy="732799"/>
      </dsp:txXfrm>
    </dsp:sp>
    <dsp:sp modelId="{F3868332-4606-4BC0-BB01-408DAD3EC356}">
      <dsp:nvSpPr>
        <dsp:cNvPr id="0" name=""/>
        <dsp:cNvSpPr/>
      </dsp:nvSpPr>
      <dsp:spPr>
        <a:xfrm>
          <a:off x="748184" y="2391259"/>
          <a:ext cx="915999" cy="915999"/>
        </a:xfrm>
        <a:prstGeom prst="ellipse">
          <a:avLst/>
        </a:prstGeom>
        <a:solidFill>
          <a:schemeClr val="tx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276ED2-9B07-45BD-A219-437305B2269D}">
      <dsp:nvSpPr>
        <dsp:cNvPr id="0" name=""/>
        <dsp:cNvSpPr/>
      </dsp:nvSpPr>
      <dsp:spPr>
        <a:xfrm>
          <a:off x="1113569" y="3607453"/>
          <a:ext cx="8206730" cy="73279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1659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Наземная инфраструктура и изменение логистических процессов </a:t>
          </a:r>
          <a:endParaRPr lang="ru-RU" sz="1800" kern="1200" dirty="0"/>
        </a:p>
      </dsp:txBody>
      <dsp:txXfrm>
        <a:off x="1113569" y="3607453"/>
        <a:ext cx="8206730" cy="732799"/>
      </dsp:txXfrm>
    </dsp:sp>
    <dsp:sp modelId="{E3A939AF-5342-466F-BC9C-09D38577A368}">
      <dsp:nvSpPr>
        <dsp:cNvPr id="0" name=""/>
        <dsp:cNvSpPr/>
      </dsp:nvSpPr>
      <dsp:spPr>
        <a:xfrm>
          <a:off x="57527" y="2061516"/>
          <a:ext cx="87651" cy="242171"/>
        </a:xfrm>
        <a:prstGeom prst="wedgeEllipseCallout">
          <a:avLst/>
        </a:prstGeom>
        <a:solidFill>
          <a:schemeClr val="bg1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128C4F10-A229-4F44-AD45-0C6BDC2CDC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61DFAC64-EA67-4BD4-B609-9396A9AC9A3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13AE9E-188D-4962-8F1C-3C127B6F9906}" type="datetimeFigureOut">
              <a:rPr lang="ru-RU" smtClean="0"/>
              <a:t>02.04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B1266060-DEB8-4840-8FBC-84C4B624389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B63660D8-3EF2-4E04-B636-63C4E1E8992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F1CEFD-69E5-4565-A5B4-0B1E27CA59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48746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28DC9394-FF20-4BED-8C50-5C47BB958CE6}" type="datetimeFigureOut">
              <a:rPr lang="ru-RU" smtClean="0"/>
              <a:pPr/>
              <a:t>02.04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EAE6426A-2532-40C5-8FA0-B8E4810C954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45095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3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="" xmlns:a16="http://schemas.microsoft.com/office/drawing/2014/main" id="{E9681B9B-C3B0-4FEF-88E7-2047B2DC87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5489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0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971F5A74-7287-40DD-AC2D-3141D458D9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74" r="8873"/>
          <a:stretch/>
        </p:blipFill>
        <p:spPr>
          <a:xfrm>
            <a:off x="2249714" y="921942"/>
            <a:ext cx="9942286" cy="5936058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6A444D67-F8CE-4F7C-A73B-78C309C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9D5186-85BD-4647-9A01-8226F56382D2}" type="slidenum">
              <a:rPr lang="ru-RU" smtClean="0"/>
              <a:t>‹#›</a:t>
            </a:fld>
            <a:endParaRPr lang="ru-RU"/>
          </a:p>
        </p:txBody>
      </p:sp>
      <p:grpSp>
        <p:nvGrpSpPr>
          <p:cNvPr id="26" name="Группа 25">
            <a:extLst>
              <a:ext uri="{FF2B5EF4-FFF2-40B4-BE49-F238E27FC236}">
                <a16:creationId xmlns="" xmlns:a16="http://schemas.microsoft.com/office/drawing/2014/main" id="{6E3DB81A-CBB7-443D-B186-3B9B9AC5FE43}"/>
              </a:ext>
            </a:extLst>
          </p:cNvPr>
          <p:cNvGrpSpPr/>
          <p:nvPr userDrawn="1"/>
        </p:nvGrpSpPr>
        <p:grpSpPr>
          <a:xfrm rot="5400000">
            <a:off x="-1060690" y="461365"/>
            <a:ext cx="1291830" cy="369097"/>
            <a:chOff x="632155" y="5349213"/>
            <a:chExt cx="3360373" cy="960114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="" xmlns:a16="http://schemas.microsoft.com/office/drawing/2014/main" id="{6BAE129E-D062-4C70-B6FC-760E6A2666DD}"/>
                </a:ext>
              </a:extLst>
            </p:cNvPr>
            <p:cNvSpPr/>
            <p:nvPr/>
          </p:nvSpPr>
          <p:spPr>
            <a:xfrm>
              <a:off x="632155" y="5349213"/>
              <a:ext cx="960107" cy="96010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="" xmlns:a16="http://schemas.microsoft.com/office/drawing/2014/main" id="{FAF0D6FB-4AAE-45BB-A6D2-F4BCD8309BE0}"/>
                </a:ext>
              </a:extLst>
            </p:cNvPr>
            <p:cNvSpPr/>
            <p:nvPr/>
          </p:nvSpPr>
          <p:spPr>
            <a:xfrm>
              <a:off x="1592261" y="5349213"/>
              <a:ext cx="960107" cy="960107"/>
            </a:xfrm>
            <a:prstGeom prst="rect">
              <a:avLst/>
            </a:prstGeom>
            <a:solidFill>
              <a:srgbClr val="2C56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="" xmlns:a16="http://schemas.microsoft.com/office/drawing/2014/main" id="{4F1717D7-EBA6-4A8E-BB2A-AC4B6AE5EB83}"/>
                </a:ext>
              </a:extLst>
            </p:cNvPr>
            <p:cNvSpPr/>
            <p:nvPr/>
          </p:nvSpPr>
          <p:spPr>
            <a:xfrm>
              <a:off x="2552368" y="5349213"/>
              <a:ext cx="960106" cy="960107"/>
            </a:xfrm>
            <a:prstGeom prst="rect">
              <a:avLst/>
            </a:prstGeom>
            <a:solidFill>
              <a:srgbClr val="F7A8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="" xmlns:a16="http://schemas.microsoft.com/office/drawing/2014/main" id="{08A2A0FD-8B3F-4359-B9EE-A79DF170B018}"/>
                </a:ext>
              </a:extLst>
            </p:cNvPr>
            <p:cNvSpPr/>
            <p:nvPr/>
          </p:nvSpPr>
          <p:spPr>
            <a:xfrm>
              <a:off x="3512475" y="5349213"/>
              <a:ext cx="480053" cy="48005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="" xmlns:a16="http://schemas.microsoft.com/office/drawing/2014/main" id="{0683CCA6-DEC1-4ED2-B94A-C55E2E6003BC}"/>
                </a:ext>
              </a:extLst>
            </p:cNvPr>
            <p:cNvSpPr/>
            <p:nvPr/>
          </p:nvSpPr>
          <p:spPr>
            <a:xfrm>
              <a:off x="3512475" y="5829274"/>
              <a:ext cx="480053" cy="4800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="" xmlns:a16="http://schemas.microsoft.com/office/drawing/2014/main" id="{4C520701-7495-4B13-86E4-38EE20190262}"/>
              </a:ext>
            </a:extLst>
          </p:cNvPr>
          <p:cNvGrpSpPr/>
          <p:nvPr userDrawn="1"/>
        </p:nvGrpSpPr>
        <p:grpSpPr>
          <a:xfrm rot="5400000">
            <a:off x="-1337511" y="2738906"/>
            <a:ext cx="1845470" cy="369094"/>
            <a:chOff x="6299597" y="4435281"/>
            <a:chExt cx="4800534" cy="960107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="" xmlns:a16="http://schemas.microsoft.com/office/drawing/2014/main" id="{C7B47708-1020-49F7-ADB6-91749C55E30D}"/>
                </a:ext>
              </a:extLst>
            </p:cNvPr>
            <p:cNvSpPr/>
            <p:nvPr userDrawn="1"/>
          </p:nvSpPr>
          <p:spPr>
            <a:xfrm>
              <a:off x="6299597" y="4435281"/>
              <a:ext cx="960107" cy="960107"/>
            </a:xfrm>
            <a:prstGeom prst="rect">
              <a:avLst/>
            </a:prstGeom>
            <a:solidFill>
              <a:srgbClr val="B915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="" xmlns:a16="http://schemas.microsoft.com/office/drawing/2014/main" id="{749BABDC-9464-4A3E-BF45-EBC8B9627330}"/>
                </a:ext>
              </a:extLst>
            </p:cNvPr>
            <p:cNvSpPr/>
            <p:nvPr userDrawn="1"/>
          </p:nvSpPr>
          <p:spPr>
            <a:xfrm>
              <a:off x="7259704" y="4435281"/>
              <a:ext cx="960106" cy="960107"/>
            </a:xfrm>
            <a:prstGeom prst="rect">
              <a:avLst/>
            </a:prstGeom>
            <a:solidFill>
              <a:srgbClr val="6ACC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2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="" xmlns:a16="http://schemas.microsoft.com/office/drawing/2014/main" id="{B30FF824-93C5-4FAA-91D0-5C09F24EE519}"/>
                </a:ext>
              </a:extLst>
            </p:cNvPr>
            <p:cNvSpPr/>
            <p:nvPr userDrawn="1"/>
          </p:nvSpPr>
          <p:spPr>
            <a:xfrm>
              <a:off x="8219810" y="4435281"/>
              <a:ext cx="960107" cy="960107"/>
            </a:xfrm>
            <a:prstGeom prst="rect">
              <a:avLst/>
            </a:prstGeom>
            <a:solidFill>
              <a:srgbClr val="6597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="" xmlns:a16="http://schemas.microsoft.com/office/drawing/2014/main" id="{289F46DB-D319-443D-A23C-391724686A0A}"/>
                </a:ext>
              </a:extLst>
            </p:cNvPr>
            <p:cNvSpPr/>
            <p:nvPr userDrawn="1"/>
          </p:nvSpPr>
          <p:spPr>
            <a:xfrm>
              <a:off x="9179917" y="4435281"/>
              <a:ext cx="960107" cy="960107"/>
            </a:xfrm>
            <a:prstGeom prst="rect">
              <a:avLst/>
            </a:prstGeom>
            <a:solidFill>
              <a:srgbClr val="FFEE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="" xmlns:a16="http://schemas.microsoft.com/office/drawing/2014/main" id="{0CA4C897-3B83-4BE5-94BB-89ACC0A28CED}"/>
                </a:ext>
              </a:extLst>
            </p:cNvPr>
            <p:cNvSpPr/>
            <p:nvPr userDrawn="1"/>
          </p:nvSpPr>
          <p:spPr>
            <a:xfrm>
              <a:off x="10140024" y="4435281"/>
              <a:ext cx="960107" cy="960107"/>
            </a:xfrm>
            <a:prstGeom prst="rect">
              <a:avLst/>
            </a:prstGeom>
            <a:solidFill>
              <a:srgbClr val="B07A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="" xmlns:a16="http://schemas.microsoft.com/office/drawing/2014/main" id="{F1073788-E706-4033-BAA2-5EFD99305210}"/>
                </a:ext>
              </a:extLst>
            </p:cNvPr>
            <p:cNvSpPr/>
            <p:nvPr userDrawn="1"/>
          </p:nvSpPr>
          <p:spPr>
            <a:xfrm>
              <a:off x="7739756" y="4435281"/>
              <a:ext cx="480053" cy="960107"/>
            </a:xfrm>
            <a:prstGeom prst="rect">
              <a:avLst/>
            </a:prstGeom>
            <a:solidFill>
              <a:srgbClr val="3EBB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9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="" xmlns:a16="http://schemas.microsoft.com/office/drawing/2014/main" id="{7D015FAF-9277-44C4-A83B-CD45506FB431}"/>
              </a:ext>
            </a:extLst>
          </p:cNvPr>
          <p:cNvGrpSpPr/>
          <p:nvPr userDrawn="1"/>
        </p:nvGrpSpPr>
        <p:grpSpPr>
          <a:xfrm>
            <a:off x="821190" y="777648"/>
            <a:ext cx="1233487" cy="1233592"/>
            <a:chOff x="5547741" y="2881978"/>
            <a:chExt cx="1100232" cy="1100328"/>
          </a:xfrm>
        </p:grpSpPr>
        <p:sp>
          <p:nvSpPr>
            <p:cNvPr id="18" name="Полилиния: фигура 17">
              <a:extLst>
                <a:ext uri="{FF2B5EF4-FFF2-40B4-BE49-F238E27FC236}">
                  <a16:creationId xmlns="" xmlns:a16="http://schemas.microsoft.com/office/drawing/2014/main" id="{1367E1D7-415A-4D7D-B462-1974D23D34EB}"/>
                </a:ext>
              </a:extLst>
            </p:cNvPr>
            <p:cNvSpPr/>
            <p:nvPr/>
          </p:nvSpPr>
          <p:spPr>
            <a:xfrm>
              <a:off x="5547741" y="2881978"/>
              <a:ext cx="1100232" cy="1100328"/>
            </a:xfrm>
            <a:custGeom>
              <a:avLst/>
              <a:gdLst>
                <a:gd name="connsiteX0" fmla="*/ 1056894 w 1100232"/>
                <a:gd name="connsiteY0" fmla="*/ 0 h 1100328"/>
                <a:gd name="connsiteX1" fmla="*/ 1100233 w 1100232"/>
                <a:gd name="connsiteY1" fmla="*/ 43339 h 1100328"/>
                <a:gd name="connsiteX2" fmla="*/ 1100233 w 1100232"/>
                <a:gd name="connsiteY2" fmla="*/ 1056989 h 1100328"/>
                <a:gd name="connsiteX3" fmla="*/ 1056894 w 1100232"/>
                <a:gd name="connsiteY3" fmla="*/ 1100328 h 1100328"/>
                <a:gd name="connsiteX4" fmla="*/ 43339 w 1100232"/>
                <a:gd name="connsiteY4" fmla="*/ 1100328 h 1100328"/>
                <a:gd name="connsiteX5" fmla="*/ 0 w 1100232"/>
                <a:gd name="connsiteY5" fmla="*/ 1056989 h 1100328"/>
                <a:gd name="connsiteX6" fmla="*/ 0 w 1100232"/>
                <a:gd name="connsiteY6" fmla="*/ 43339 h 1100328"/>
                <a:gd name="connsiteX7" fmla="*/ 43339 w 1100232"/>
                <a:gd name="connsiteY7" fmla="*/ 0 h 110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0232" h="1100328">
                  <a:moveTo>
                    <a:pt x="1056894" y="0"/>
                  </a:moveTo>
                  <a:cubicBezTo>
                    <a:pt x="1080829" y="0"/>
                    <a:pt x="1100233" y="19403"/>
                    <a:pt x="1100233" y="43339"/>
                  </a:cubicBezTo>
                  <a:lnTo>
                    <a:pt x="1100233" y="1056989"/>
                  </a:lnTo>
                  <a:cubicBezTo>
                    <a:pt x="1100233" y="1080925"/>
                    <a:pt x="1080829" y="1100328"/>
                    <a:pt x="1056894" y="1100328"/>
                  </a:cubicBezTo>
                  <a:lnTo>
                    <a:pt x="43339" y="1100328"/>
                  </a:lnTo>
                  <a:cubicBezTo>
                    <a:pt x="19403" y="1100328"/>
                    <a:pt x="0" y="1080925"/>
                    <a:pt x="0" y="1056989"/>
                  </a:cubicBezTo>
                  <a:lnTo>
                    <a:pt x="0" y="43339"/>
                  </a:lnTo>
                  <a:cubicBezTo>
                    <a:pt x="0" y="19403"/>
                    <a:pt x="19403" y="0"/>
                    <a:pt x="43339" y="0"/>
                  </a:cubicBezTo>
                  <a:close/>
                </a:path>
              </a:pathLst>
            </a:custGeom>
            <a:solidFill>
              <a:srgbClr val="1937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="" xmlns:a16="http://schemas.microsoft.com/office/drawing/2014/main" id="{4ED1C9C3-6803-4825-B834-C2CFBC292E20}"/>
                </a:ext>
              </a:extLst>
            </p:cNvPr>
            <p:cNvSpPr/>
            <p:nvPr/>
          </p:nvSpPr>
          <p:spPr>
            <a:xfrm>
              <a:off x="5648325" y="3141436"/>
              <a:ext cx="899731" cy="580204"/>
            </a:xfrm>
            <a:custGeom>
              <a:avLst/>
              <a:gdLst>
                <a:gd name="connsiteX0" fmla="*/ 247079 w 899731"/>
                <a:gd name="connsiteY0" fmla="*/ 371002 h 580204"/>
                <a:gd name="connsiteX1" fmla="*/ 197263 w 899731"/>
                <a:gd name="connsiteY1" fmla="*/ 337855 h 580204"/>
                <a:gd name="connsiteX2" fmla="*/ 149638 w 899731"/>
                <a:gd name="connsiteY2" fmla="*/ 371193 h 580204"/>
                <a:gd name="connsiteX3" fmla="*/ 132683 w 899731"/>
                <a:gd name="connsiteY3" fmla="*/ 456918 h 580204"/>
                <a:gd name="connsiteX4" fmla="*/ 148876 w 899731"/>
                <a:gd name="connsiteY4" fmla="*/ 544453 h 580204"/>
                <a:gd name="connsiteX5" fmla="*/ 197167 w 899731"/>
                <a:gd name="connsiteY5" fmla="*/ 577600 h 580204"/>
                <a:gd name="connsiteX6" fmla="*/ 247555 w 899731"/>
                <a:gd name="connsiteY6" fmla="*/ 542833 h 580204"/>
                <a:gd name="connsiteX7" fmla="*/ 264509 w 899731"/>
                <a:gd name="connsiteY7" fmla="*/ 456537 h 580204"/>
                <a:gd name="connsiteX8" fmla="*/ 246983 w 899731"/>
                <a:gd name="connsiteY8" fmla="*/ 370812 h 580204"/>
                <a:gd name="connsiteX9" fmla="*/ 219075 w 899731"/>
                <a:gd name="connsiteY9" fmla="*/ 517783 h 580204"/>
                <a:gd name="connsiteX10" fmla="*/ 197358 w 899731"/>
                <a:gd name="connsiteY10" fmla="*/ 540547 h 580204"/>
                <a:gd name="connsiteX11" fmla="*/ 176117 w 899731"/>
                <a:gd name="connsiteY11" fmla="*/ 517497 h 580204"/>
                <a:gd name="connsiteX12" fmla="*/ 168307 w 899731"/>
                <a:gd name="connsiteY12" fmla="*/ 457299 h 580204"/>
                <a:gd name="connsiteX13" fmla="*/ 176022 w 899731"/>
                <a:gd name="connsiteY13" fmla="*/ 397196 h 580204"/>
                <a:gd name="connsiteX14" fmla="*/ 197358 w 899731"/>
                <a:gd name="connsiteY14" fmla="*/ 375003 h 580204"/>
                <a:gd name="connsiteX15" fmla="*/ 220218 w 899731"/>
                <a:gd name="connsiteY15" fmla="*/ 397482 h 580204"/>
                <a:gd name="connsiteX16" fmla="*/ 226886 w 899731"/>
                <a:gd name="connsiteY16" fmla="*/ 456727 h 580204"/>
                <a:gd name="connsiteX17" fmla="*/ 219075 w 899731"/>
                <a:gd name="connsiteY17" fmla="*/ 517783 h 580204"/>
                <a:gd name="connsiteX18" fmla="*/ 325469 w 899731"/>
                <a:gd name="connsiteY18" fmla="*/ 206601 h 580204"/>
                <a:gd name="connsiteX19" fmla="*/ 344519 w 899731"/>
                <a:gd name="connsiteY19" fmla="*/ 119733 h 580204"/>
                <a:gd name="connsiteX20" fmla="*/ 324898 w 899731"/>
                <a:gd name="connsiteY20" fmla="*/ 33532 h 580204"/>
                <a:gd name="connsiteX21" fmla="*/ 268796 w 899731"/>
                <a:gd name="connsiteY21" fmla="*/ 4 h 580204"/>
                <a:gd name="connsiteX22" fmla="*/ 215265 w 899731"/>
                <a:gd name="connsiteY22" fmla="*/ 33722 h 580204"/>
                <a:gd name="connsiteX23" fmla="*/ 196215 w 899731"/>
                <a:gd name="connsiteY23" fmla="*/ 120114 h 580204"/>
                <a:gd name="connsiteX24" fmla="*/ 214408 w 899731"/>
                <a:gd name="connsiteY24" fmla="*/ 208220 h 580204"/>
                <a:gd name="connsiteX25" fmla="*/ 268796 w 899731"/>
                <a:gd name="connsiteY25" fmla="*/ 241843 h 580204"/>
                <a:gd name="connsiteX26" fmla="*/ 325469 w 899731"/>
                <a:gd name="connsiteY26" fmla="*/ 206601 h 580204"/>
                <a:gd name="connsiteX27" fmla="*/ 292608 w 899731"/>
                <a:gd name="connsiteY27" fmla="*/ 180502 h 580204"/>
                <a:gd name="connsiteX28" fmla="*/ 268796 w 899731"/>
                <a:gd name="connsiteY28" fmla="*/ 202696 h 580204"/>
                <a:gd name="connsiteX29" fmla="*/ 245650 w 899731"/>
                <a:gd name="connsiteY29" fmla="*/ 180121 h 580204"/>
                <a:gd name="connsiteX30" fmla="*/ 236982 w 899731"/>
                <a:gd name="connsiteY30" fmla="*/ 120876 h 580204"/>
                <a:gd name="connsiteX31" fmla="*/ 245554 w 899731"/>
                <a:gd name="connsiteY31" fmla="*/ 61154 h 580204"/>
                <a:gd name="connsiteX32" fmla="*/ 268891 w 899731"/>
                <a:gd name="connsiteY32" fmla="*/ 39532 h 580204"/>
                <a:gd name="connsiteX33" fmla="*/ 293942 w 899731"/>
                <a:gd name="connsiteY33" fmla="*/ 61440 h 580204"/>
                <a:gd name="connsiteX34" fmla="*/ 301371 w 899731"/>
                <a:gd name="connsiteY34" fmla="*/ 120304 h 580204"/>
                <a:gd name="connsiteX35" fmla="*/ 292703 w 899731"/>
                <a:gd name="connsiteY35" fmla="*/ 180883 h 580204"/>
                <a:gd name="connsiteX36" fmla="*/ 39719 w 899731"/>
                <a:gd name="connsiteY36" fmla="*/ 343761 h 580204"/>
                <a:gd name="connsiteX37" fmla="*/ 0 w 899731"/>
                <a:gd name="connsiteY37" fmla="*/ 343761 h 580204"/>
                <a:gd name="connsiteX38" fmla="*/ 0 w 899731"/>
                <a:gd name="connsiteY38" fmla="*/ 573028 h 580204"/>
                <a:gd name="connsiteX39" fmla="*/ 38100 w 899731"/>
                <a:gd name="connsiteY39" fmla="*/ 573028 h 580204"/>
                <a:gd name="connsiteX40" fmla="*/ 38100 w 899731"/>
                <a:gd name="connsiteY40" fmla="*/ 506353 h 580204"/>
                <a:gd name="connsiteX41" fmla="*/ 86050 w 899731"/>
                <a:gd name="connsiteY41" fmla="*/ 507034 h 580204"/>
                <a:gd name="connsiteX42" fmla="*/ 93250 w 899731"/>
                <a:gd name="connsiteY42" fmla="*/ 496828 h 580204"/>
                <a:gd name="connsiteX43" fmla="*/ 106871 w 899731"/>
                <a:gd name="connsiteY43" fmla="*/ 432058 h 580204"/>
                <a:gd name="connsiteX44" fmla="*/ 95917 w 899731"/>
                <a:gd name="connsiteY44" fmla="*/ 379670 h 580204"/>
                <a:gd name="connsiteX45" fmla="*/ 39719 w 899731"/>
                <a:gd name="connsiteY45" fmla="*/ 343761 h 580204"/>
                <a:gd name="connsiteX46" fmla="*/ 62960 w 899731"/>
                <a:gd name="connsiteY46" fmla="*/ 468824 h 580204"/>
                <a:gd name="connsiteX47" fmla="*/ 52388 w 899731"/>
                <a:gd name="connsiteY47" fmla="*/ 477682 h 580204"/>
                <a:gd name="connsiteX48" fmla="*/ 42863 w 899731"/>
                <a:gd name="connsiteY48" fmla="*/ 469872 h 580204"/>
                <a:gd name="connsiteX49" fmla="*/ 38386 w 899731"/>
                <a:gd name="connsiteY49" fmla="*/ 445583 h 580204"/>
                <a:gd name="connsiteX50" fmla="*/ 38386 w 899731"/>
                <a:gd name="connsiteY50" fmla="*/ 378051 h 580204"/>
                <a:gd name="connsiteX51" fmla="*/ 39910 w 899731"/>
                <a:gd name="connsiteY51" fmla="*/ 378051 h 580204"/>
                <a:gd name="connsiteX52" fmla="*/ 60389 w 899731"/>
                <a:gd name="connsiteY52" fmla="*/ 392815 h 580204"/>
                <a:gd name="connsiteX53" fmla="*/ 68104 w 899731"/>
                <a:gd name="connsiteY53" fmla="*/ 441678 h 580204"/>
                <a:gd name="connsiteX54" fmla="*/ 62960 w 899731"/>
                <a:gd name="connsiteY54" fmla="*/ 468824 h 580204"/>
                <a:gd name="connsiteX55" fmla="*/ 43053 w 899731"/>
                <a:gd name="connsiteY55" fmla="*/ 44676 h 580204"/>
                <a:gd name="connsiteX56" fmla="*/ 95250 w 899731"/>
                <a:gd name="connsiteY56" fmla="*/ 44676 h 580204"/>
                <a:gd name="connsiteX57" fmla="*/ 95250 w 899731"/>
                <a:gd name="connsiteY57" fmla="*/ 237367 h 580204"/>
                <a:gd name="connsiteX58" fmla="*/ 137731 w 899731"/>
                <a:gd name="connsiteY58" fmla="*/ 237367 h 580204"/>
                <a:gd name="connsiteX59" fmla="*/ 137731 w 899731"/>
                <a:gd name="connsiteY59" fmla="*/ 6576 h 580204"/>
                <a:gd name="connsiteX60" fmla="*/ 571 w 899731"/>
                <a:gd name="connsiteY60" fmla="*/ 6576 h 580204"/>
                <a:gd name="connsiteX61" fmla="*/ 571 w 899731"/>
                <a:gd name="connsiteY61" fmla="*/ 237748 h 580204"/>
                <a:gd name="connsiteX62" fmla="*/ 43053 w 899731"/>
                <a:gd name="connsiteY62" fmla="*/ 237748 h 580204"/>
                <a:gd name="connsiteX63" fmla="*/ 784288 w 899731"/>
                <a:gd name="connsiteY63" fmla="*/ 124591 h 580204"/>
                <a:gd name="connsiteX64" fmla="*/ 837343 w 899731"/>
                <a:gd name="connsiteY64" fmla="*/ 124591 h 580204"/>
                <a:gd name="connsiteX65" fmla="*/ 849249 w 899731"/>
                <a:gd name="connsiteY65" fmla="*/ 237367 h 580204"/>
                <a:gd name="connsiteX66" fmla="*/ 892112 w 899731"/>
                <a:gd name="connsiteY66" fmla="*/ 237367 h 580204"/>
                <a:gd name="connsiteX67" fmla="*/ 872490 w 899731"/>
                <a:gd name="connsiteY67" fmla="*/ 68488 h 580204"/>
                <a:gd name="connsiteX68" fmla="*/ 852202 w 899731"/>
                <a:gd name="connsiteY68" fmla="*/ 19054 h 580204"/>
                <a:gd name="connsiteX69" fmla="*/ 808482 w 899731"/>
                <a:gd name="connsiteY69" fmla="*/ 6576 h 580204"/>
                <a:gd name="connsiteX70" fmla="*/ 745522 w 899731"/>
                <a:gd name="connsiteY70" fmla="*/ 6576 h 580204"/>
                <a:gd name="connsiteX71" fmla="*/ 737711 w 899731"/>
                <a:gd name="connsiteY71" fmla="*/ 237748 h 580204"/>
                <a:gd name="connsiteX72" fmla="*/ 780193 w 899731"/>
                <a:gd name="connsiteY72" fmla="*/ 237748 h 580204"/>
                <a:gd name="connsiteX73" fmla="*/ 786098 w 899731"/>
                <a:gd name="connsiteY73" fmla="*/ 44676 h 580204"/>
                <a:gd name="connsiteX74" fmla="*/ 801529 w 899731"/>
                <a:gd name="connsiteY74" fmla="*/ 44676 h 580204"/>
                <a:gd name="connsiteX75" fmla="*/ 824579 w 899731"/>
                <a:gd name="connsiteY75" fmla="*/ 54772 h 580204"/>
                <a:gd name="connsiteX76" fmla="*/ 832485 w 899731"/>
                <a:gd name="connsiteY76" fmla="*/ 86205 h 580204"/>
                <a:gd name="connsiteX77" fmla="*/ 784860 w 899731"/>
                <a:gd name="connsiteY77" fmla="*/ 86205 h 580204"/>
                <a:gd name="connsiteX78" fmla="*/ 709898 w 899731"/>
                <a:gd name="connsiteY78" fmla="*/ 335474 h 580204"/>
                <a:gd name="connsiteX79" fmla="*/ 624935 w 899731"/>
                <a:gd name="connsiteY79" fmla="*/ 424247 h 580204"/>
                <a:gd name="connsiteX80" fmla="*/ 624935 w 899731"/>
                <a:gd name="connsiteY80" fmla="*/ 343380 h 580204"/>
                <a:gd name="connsiteX81" fmla="*/ 587788 w 899731"/>
                <a:gd name="connsiteY81" fmla="*/ 343380 h 580204"/>
                <a:gd name="connsiteX82" fmla="*/ 587788 w 899731"/>
                <a:gd name="connsiteY82" fmla="*/ 573218 h 580204"/>
                <a:gd name="connsiteX83" fmla="*/ 624935 w 899731"/>
                <a:gd name="connsiteY83" fmla="*/ 573218 h 580204"/>
                <a:gd name="connsiteX84" fmla="*/ 624935 w 899731"/>
                <a:gd name="connsiteY84" fmla="*/ 478825 h 580204"/>
                <a:gd name="connsiteX85" fmla="*/ 678847 w 899731"/>
                <a:gd name="connsiteY85" fmla="*/ 421675 h 580204"/>
                <a:gd name="connsiteX86" fmla="*/ 684276 w 899731"/>
                <a:gd name="connsiteY86" fmla="*/ 573123 h 580204"/>
                <a:gd name="connsiteX87" fmla="*/ 722376 w 899731"/>
                <a:gd name="connsiteY87" fmla="*/ 573123 h 580204"/>
                <a:gd name="connsiteX88" fmla="*/ 712851 w 899731"/>
                <a:gd name="connsiteY88" fmla="*/ 332331 h 580204"/>
                <a:gd name="connsiteX89" fmla="*/ 611981 w 899731"/>
                <a:gd name="connsiteY89" fmla="*/ 237462 h 580204"/>
                <a:gd name="connsiteX90" fmla="*/ 654463 w 899731"/>
                <a:gd name="connsiteY90" fmla="*/ 237462 h 580204"/>
                <a:gd name="connsiteX91" fmla="*/ 654463 w 899731"/>
                <a:gd name="connsiteY91" fmla="*/ 44676 h 580204"/>
                <a:gd name="connsiteX92" fmla="*/ 690277 w 899731"/>
                <a:gd name="connsiteY92" fmla="*/ 44676 h 580204"/>
                <a:gd name="connsiteX93" fmla="*/ 690277 w 899731"/>
                <a:gd name="connsiteY93" fmla="*/ 6576 h 580204"/>
                <a:gd name="connsiteX94" fmla="*/ 576358 w 899731"/>
                <a:gd name="connsiteY94" fmla="*/ 6576 h 580204"/>
                <a:gd name="connsiteX95" fmla="*/ 576358 w 899731"/>
                <a:gd name="connsiteY95" fmla="*/ 44676 h 580204"/>
                <a:gd name="connsiteX96" fmla="*/ 611600 w 899731"/>
                <a:gd name="connsiteY96" fmla="*/ 44676 h 580204"/>
                <a:gd name="connsiteX97" fmla="*/ 890207 w 899731"/>
                <a:gd name="connsiteY97" fmla="*/ 332712 h 580204"/>
                <a:gd name="connsiteX98" fmla="*/ 887254 w 899731"/>
                <a:gd name="connsiteY98" fmla="*/ 335855 h 580204"/>
                <a:gd name="connsiteX99" fmla="*/ 802291 w 899731"/>
                <a:gd name="connsiteY99" fmla="*/ 424628 h 580204"/>
                <a:gd name="connsiteX100" fmla="*/ 802291 w 899731"/>
                <a:gd name="connsiteY100" fmla="*/ 343761 h 580204"/>
                <a:gd name="connsiteX101" fmla="*/ 765143 w 899731"/>
                <a:gd name="connsiteY101" fmla="*/ 343761 h 580204"/>
                <a:gd name="connsiteX102" fmla="*/ 765143 w 899731"/>
                <a:gd name="connsiteY102" fmla="*/ 573599 h 580204"/>
                <a:gd name="connsiteX103" fmla="*/ 802291 w 899731"/>
                <a:gd name="connsiteY103" fmla="*/ 573599 h 580204"/>
                <a:gd name="connsiteX104" fmla="*/ 802291 w 899731"/>
                <a:gd name="connsiteY104" fmla="*/ 479206 h 580204"/>
                <a:gd name="connsiteX105" fmla="*/ 856202 w 899731"/>
                <a:gd name="connsiteY105" fmla="*/ 422056 h 580204"/>
                <a:gd name="connsiteX106" fmla="*/ 861632 w 899731"/>
                <a:gd name="connsiteY106" fmla="*/ 573504 h 580204"/>
                <a:gd name="connsiteX107" fmla="*/ 899732 w 899731"/>
                <a:gd name="connsiteY107" fmla="*/ 573504 h 580204"/>
                <a:gd name="connsiteX108" fmla="*/ 482917 w 899731"/>
                <a:gd name="connsiteY108" fmla="*/ 125829 h 580204"/>
                <a:gd name="connsiteX109" fmla="*/ 482917 w 899731"/>
                <a:gd name="connsiteY109" fmla="*/ 237462 h 580204"/>
                <a:gd name="connsiteX110" fmla="*/ 525399 w 899731"/>
                <a:gd name="connsiteY110" fmla="*/ 237462 h 580204"/>
                <a:gd name="connsiteX111" fmla="*/ 525399 w 899731"/>
                <a:gd name="connsiteY111" fmla="*/ 6576 h 580204"/>
                <a:gd name="connsiteX112" fmla="*/ 482917 w 899731"/>
                <a:gd name="connsiteY112" fmla="*/ 6576 h 580204"/>
                <a:gd name="connsiteX113" fmla="*/ 482917 w 899731"/>
                <a:gd name="connsiteY113" fmla="*/ 87062 h 580204"/>
                <a:gd name="connsiteX114" fmla="*/ 459772 w 899731"/>
                <a:gd name="connsiteY114" fmla="*/ 87062 h 580204"/>
                <a:gd name="connsiteX115" fmla="*/ 438626 w 899731"/>
                <a:gd name="connsiteY115" fmla="*/ 80585 h 580204"/>
                <a:gd name="connsiteX116" fmla="*/ 433768 w 899731"/>
                <a:gd name="connsiteY116" fmla="*/ 68203 h 580204"/>
                <a:gd name="connsiteX117" fmla="*/ 433769 w 899731"/>
                <a:gd name="connsiteY117" fmla="*/ 6576 h 580204"/>
                <a:gd name="connsiteX118" fmla="*/ 391287 w 899731"/>
                <a:gd name="connsiteY118" fmla="*/ 6576 h 580204"/>
                <a:gd name="connsiteX119" fmla="*/ 391287 w 899731"/>
                <a:gd name="connsiteY119" fmla="*/ 72298 h 580204"/>
                <a:gd name="connsiteX120" fmla="*/ 409194 w 899731"/>
                <a:gd name="connsiteY120" fmla="*/ 110398 h 580204"/>
                <a:gd name="connsiteX121" fmla="*/ 451961 w 899731"/>
                <a:gd name="connsiteY121" fmla="*/ 125638 h 580204"/>
                <a:gd name="connsiteX122" fmla="*/ 352044 w 899731"/>
                <a:gd name="connsiteY122" fmla="*/ 516354 h 580204"/>
                <a:gd name="connsiteX123" fmla="*/ 351187 w 899731"/>
                <a:gd name="connsiteY123" fmla="*/ 401292 h 580204"/>
                <a:gd name="connsiteX124" fmla="*/ 406241 w 899731"/>
                <a:gd name="connsiteY124" fmla="*/ 377956 h 580204"/>
                <a:gd name="connsiteX125" fmla="*/ 408051 w 899731"/>
                <a:gd name="connsiteY125" fmla="*/ 377956 h 580204"/>
                <a:gd name="connsiteX126" fmla="*/ 408051 w 899731"/>
                <a:gd name="connsiteY126" fmla="*/ 337855 h 580204"/>
                <a:gd name="connsiteX127" fmla="*/ 406241 w 899731"/>
                <a:gd name="connsiteY127" fmla="*/ 337855 h 580204"/>
                <a:gd name="connsiteX128" fmla="*/ 320516 w 899731"/>
                <a:gd name="connsiteY128" fmla="*/ 372622 h 580204"/>
                <a:gd name="connsiteX129" fmla="*/ 293751 w 899731"/>
                <a:gd name="connsiteY129" fmla="*/ 459109 h 580204"/>
                <a:gd name="connsiteX130" fmla="*/ 322802 w 899731"/>
                <a:gd name="connsiteY130" fmla="*/ 545310 h 580204"/>
                <a:gd name="connsiteX131" fmla="*/ 406908 w 899731"/>
                <a:gd name="connsiteY131" fmla="*/ 580076 h 580204"/>
                <a:gd name="connsiteX132" fmla="*/ 408718 w 899731"/>
                <a:gd name="connsiteY132" fmla="*/ 580076 h 580204"/>
                <a:gd name="connsiteX133" fmla="*/ 408718 w 899731"/>
                <a:gd name="connsiteY133" fmla="*/ 539976 h 580204"/>
                <a:gd name="connsiteX134" fmla="*/ 406908 w 899731"/>
                <a:gd name="connsiteY134" fmla="*/ 539976 h 580204"/>
                <a:gd name="connsiteX135" fmla="*/ 352425 w 899731"/>
                <a:gd name="connsiteY135" fmla="*/ 516354 h 580204"/>
                <a:gd name="connsiteX136" fmla="*/ 494919 w 899731"/>
                <a:gd name="connsiteY136" fmla="*/ 516354 h 580204"/>
                <a:gd name="connsiteX137" fmla="*/ 494062 w 899731"/>
                <a:gd name="connsiteY137" fmla="*/ 401292 h 580204"/>
                <a:gd name="connsiteX138" fmla="*/ 549116 w 899731"/>
                <a:gd name="connsiteY138" fmla="*/ 377956 h 580204"/>
                <a:gd name="connsiteX139" fmla="*/ 550926 w 899731"/>
                <a:gd name="connsiteY139" fmla="*/ 377956 h 580204"/>
                <a:gd name="connsiteX140" fmla="*/ 550926 w 899731"/>
                <a:gd name="connsiteY140" fmla="*/ 337855 h 580204"/>
                <a:gd name="connsiteX141" fmla="*/ 549116 w 899731"/>
                <a:gd name="connsiteY141" fmla="*/ 337855 h 580204"/>
                <a:gd name="connsiteX142" fmla="*/ 463391 w 899731"/>
                <a:gd name="connsiteY142" fmla="*/ 372622 h 580204"/>
                <a:gd name="connsiteX143" fmla="*/ 436626 w 899731"/>
                <a:gd name="connsiteY143" fmla="*/ 459109 h 580204"/>
                <a:gd name="connsiteX144" fmla="*/ 465677 w 899731"/>
                <a:gd name="connsiteY144" fmla="*/ 545310 h 580204"/>
                <a:gd name="connsiteX145" fmla="*/ 549783 w 899731"/>
                <a:gd name="connsiteY145" fmla="*/ 580076 h 580204"/>
                <a:gd name="connsiteX146" fmla="*/ 551593 w 899731"/>
                <a:gd name="connsiteY146" fmla="*/ 580076 h 580204"/>
                <a:gd name="connsiteX147" fmla="*/ 551593 w 899731"/>
                <a:gd name="connsiteY147" fmla="*/ 539976 h 580204"/>
                <a:gd name="connsiteX148" fmla="*/ 549783 w 899731"/>
                <a:gd name="connsiteY148" fmla="*/ 539976 h 580204"/>
                <a:gd name="connsiteX149" fmla="*/ 494443 w 899731"/>
                <a:gd name="connsiteY149" fmla="*/ 516354 h 58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</a:cxnLst>
              <a:rect l="l" t="t" r="r" b="b"/>
              <a:pathLst>
                <a:path w="899731" h="580204">
                  <a:moveTo>
                    <a:pt x="247079" y="371002"/>
                  </a:moveTo>
                  <a:cubicBezTo>
                    <a:pt x="235267" y="349000"/>
                    <a:pt x="218504" y="337855"/>
                    <a:pt x="197263" y="337855"/>
                  </a:cubicBezTo>
                  <a:cubicBezTo>
                    <a:pt x="176022" y="337855"/>
                    <a:pt x="161163" y="349095"/>
                    <a:pt x="149638" y="371193"/>
                  </a:cubicBezTo>
                  <a:cubicBezTo>
                    <a:pt x="137329" y="398039"/>
                    <a:pt x="131520" y="427408"/>
                    <a:pt x="132683" y="456918"/>
                  </a:cubicBezTo>
                  <a:cubicBezTo>
                    <a:pt x="131407" y="486944"/>
                    <a:pt x="136943" y="516870"/>
                    <a:pt x="148876" y="544453"/>
                  </a:cubicBezTo>
                  <a:cubicBezTo>
                    <a:pt x="159829" y="566455"/>
                    <a:pt x="176022" y="577600"/>
                    <a:pt x="197167" y="577600"/>
                  </a:cubicBezTo>
                  <a:cubicBezTo>
                    <a:pt x="218313" y="577600"/>
                    <a:pt x="235267" y="565884"/>
                    <a:pt x="247555" y="542833"/>
                  </a:cubicBezTo>
                  <a:cubicBezTo>
                    <a:pt x="259925" y="515805"/>
                    <a:pt x="265734" y="486236"/>
                    <a:pt x="264509" y="456537"/>
                  </a:cubicBezTo>
                  <a:cubicBezTo>
                    <a:pt x="265724" y="426962"/>
                    <a:pt x="259709" y="397537"/>
                    <a:pt x="246983" y="370812"/>
                  </a:cubicBezTo>
                  <a:close/>
                  <a:moveTo>
                    <a:pt x="219075" y="517783"/>
                  </a:moveTo>
                  <a:cubicBezTo>
                    <a:pt x="214122" y="532927"/>
                    <a:pt x="206788" y="540547"/>
                    <a:pt x="197358" y="540547"/>
                  </a:cubicBezTo>
                  <a:cubicBezTo>
                    <a:pt x="187928" y="540547"/>
                    <a:pt x="181165" y="532737"/>
                    <a:pt x="176117" y="517497"/>
                  </a:cubicBezTo>
                  <a:cubicBezTo>
                    <a:pt x="170434" y="497952"/>
                    <a:pt x="167799" y="477647"/>
                    <a:pt x="168307" y="457299"/>
                  </a:cubicBezTo>
                  <a:cubicBezTo>
                    <a:pt x="167742" y="436986"/>
                    <a:pt x="170344" y="416708"/>
                    <a:pt x="176022" y="397196"/>
                  </a:cubicBezTo>
                  <a:cubicBezTo>
                    <a:pt x="180880" y="382528"/>
                    <a:pt x="188119" y="375003"/>
                    <a:pt x="197358" y="375003"/>
                  </a:cubicBezTo>
                  <a:cubicBezTo>
                    <a:pt x="206597" y="375003"/>
                    <a:pt x="215360" y="382337"/>
                    <a:pt x="220218" y="397482"/>
                  </a:cubicBezTo>
                  <a:cubicBezTo>
                    <a:pt x="225353" y="416793"/>
                    <a:pt x="227600" y="436758"/>
                    <a:pt x="226886" y="456727"/>
                  </a:cubicBezTo>
                  <a:cubicBezTo>
                    <a:pt x="227448" y="477360"/>
                    <a:pt x="224813" y="497956"/>
                    <a:pt x="219075" y="517783"/>
                  </a:cubicBezTo>
                  <a:close/>
                  <a:moveTo>
                    <a:pt x="325469" y="206601"/>
                  </a:moveTo>
                  <a:cubicBezTo>
                    <a:pt x="339269" y="179796"/>
                    <a:pt x="345835" y="149853"/>
                    <a:pt x="344519" y="119733"/>
                  </a:cubicBezTo>
                  <a:cubicBezTo>
                    <a:pt x="345828" y="89759"/>
                    <a:pt x="339051" y="59986"/>
                    <a:pt x="324898" y="33532"/>
                  </a:cubicBezTo>
                  <a:cubicBezTo>
                    <a:pt x="313982" y="12702"/>
                    <a:pt x="292310" y="-249"/>
                    <a:pt x="268796" y="4"/>
                  </a:cubicBezTo>
                  <a:cubicBezTo>
                    <a:pt x="245975" y="93"/>
                    <a:pt x="225201" y="13178"/>
                    <a:pt x="215265" y="33722"/>
                  </a:cubicBezTo>
                  <a:cubicBezTo>
                    <a:pt x="201513" y="60374"/>
                    <a:pt x="194947" y="90150"/>
                    <a:pt x="196215" y="120114"/>
                  </a:cubicBezTo>
                  <a:cubicBezTo>
                    <a:pt x="194832" y="150541"/>
                    <a:pt x="201086" y="180830"/>
                    <a:pt x="214408" y="208220"/>
                  </a:cubicBezTo>
                  <a:cubicBezTo>
                    <a:pt x="224414" y="229089"/>
                    <a:pt x="245655" y="242221"/>
                    <a:pt x="268796" y="241843"/>
                  </a:cubicBezTo>
                  <a:cubicBezTo>
                    <a:pt x="292858" y="241853"/>
                    <a:pt x="314835" y="228186"/>
                    <a:pt x="325469" y="206601"/>
                  </a:cubicBezTo>
                  <a:close/>
                  <a:moveTo>
                    <a:pt x="292608" y="180502"/>
                  </a:moveTo>
                  <a:cubicBezTo>
                    <a:pt x="287084" y="195457"/>
                    <a:pt x="279273" y="202696"/>
                    <a:pt x="268796" y="202696"/>
                  </a:cubicBezTo>
                  <a:cubicBezTo>
                    <a:pt x="258318" y="202696"/>
                    <a:pt x="251174" y="195361"/>
                    <a:pt x="245650" y="180121"/>
                  </a:cubicBezTo>
                  <a:cubicBezTo>
                    <a:pt x="239413" y="161009"/>
                    <a:pt x="236482" y="140974"/>
                    <a:pt x="236982" y="120876"/>
                  </a:cubicBezTo>
                  <a:cubicBezTo>
                    <a:pt x="236354" y="100622"/>
                    <a:pt x="239255" y="80414"/>
                    <a:pt x="245554" y="61154"/>
                  </a:cubicBezTo>
                  <a:cubicBezTo>
                    <a:pt x="250984" y="46581"/>
                    <a:pt x="258604" y="39532"/>
                    <a:pt x="268891" y="39532"/>
                  </a:cubicBezTo>
                  <a:cubicBezTo>
                    <a:pt x="279178" y="39532"/>
                    <a:pt x="288608" y="46676"/>
                    <a:pt x="293942" y="61440"/>
                  </a:cubicBezTo>
                  <a:cubicBezTo>
                    <a:pt x="299650" y="80517"/>
                    <a:pt x="302160" y="100407"/>
                    <a:pt x="301371" y="120304"/>
                  </a:cubicBezTo>
                  <a:cubicBezTo>
                    <a:pt x="301991" y="140846"/>
                    <a:pt x="299058" y="161340"/>
                    <a:pt x="292703" y="180883"/>
                  </a:cubicBezTo>
                  <a:close/>
                  <a:moveTo>
                    <a:pt x="39719" y="343761"/>
                  </a:moveTo>
                  <a:lnTo>
                    <a:pt x="0" y="343761"/>
                  </a:lnTo>
                  <a:lnTo>
                    <a:pt x="0" y="573028"/>
                  </a:lnTo>
                  <a:lnTo>
                    <a:pt x="38100" y="573028"/>
                  </a:lnTo>
                  <a:lnTo>
                    <a:pt x="38100" y="506353"/>
                  </a:lnTo>
                  <a:cubicBezTo>
                    <a:pt x="51153" y="519782"/>
                    <a:pt x="72621" y="520087"/>
                    <a:pt x="86050" y="507034"/>
                  </a:cubicBezTo>
                  <a:cubicBezTo>
                    <a:pt x="89061" y="504107"/>
                    <a:pt x="91502" y="500646"/>
                    <a:pt x="93250" y="496828"/>
                  </a:cubicBezTo>
                  <a:cubicBezTo>
                    <a:pt x="103489" y="476840"/>
                    <a:pt x="108192" y="454476"/>
                    <a:pt x="106871" y="432058"/>
                  </a:cubicBezTo>
                  <a:cubicBezTo>
                    <a:pt x="107206" y="413994"/>
                    <a:pt x="103462" y="396087"/>
                    <a:pt x="95917" y="379670"/>
                  </a:cubicBezTo>
                  <a:cubicBezTo>
                    <a:pt x="86535" y="357127"/>
                    <a:pt x="64117" y="342803"/>
                    <a:pt x="39719" y="343761"/>
                  </a:cubicBezTo>
                  <a:close/>
                  <a:moveTo>
                    <a:pt x="62960" y="468824"/>
                  </a:moveTo>
                  <a:cubicBezTo>
                    <a:pt x="59912" y="474730"/>
                    <a:pt x="56388" y="477682"/>
                    <a:pt x="52388" y="477682"/>
                  </a:cubicBezTo>
                  <a:cubicBezTo>
                    <a:pt x="48387" y="477682"/>
                    <a:pt x="45339" y="475111"/>
                    <a:pt x="42863" y="469872"/>
                  </a:cubicBezTo>
                  <a:cubicBezTo>
                    <a:pt x="39484" y="462240"/>
                    <a:pt x="37950" y="453919"/>
                    <a:pt x="38386" y="445583"/>
                  </a:cubicBezTo>
                  <a:lnTo>
                    <a:pt x="38386" y="378051"/>
                  </a:lnTo>
                  <a:lnTo>
                    <a:pt x="39910" y="378051"/>
                  </a:lnTo>
                  <a:cubicBezTo>
                    <a:pt x="49116" y="378312"/>
                    <a:pt x="57231" y="384163"/>
                    <a:pt x="60389" y="392815"/>
                  </a:cubicBezTo>
                  <a:cubicBezTo>
                    <a:pt x="66458" y="408354"/>
                    <a:pt x="69090" y="425024"/>
                    <a:pt x="68104" y="441678"/>
                  </a:cubicBezTo>
                  <a:cubicBezTo>
                    <a:pt x="68493" y="451001"/>
                    <a:pt x="66733" y="460289"/>
                    <a:pt x="62960" y="468824"/>
                  </a:cubicBezTo>
                  <a:close/>
                  <a:moveTo>
                    <a:pt x="43053" y="44676"/>
                  </a:moveTo>
                  <a:lnTo>
                    <a:pt x="95250" y="44676"/>
                  </a:lnTo>
                  <a:lnTo>
                    <a:pt x="95250" y="237367"/>
                  </a:lnTo>
                  <a:lnTo>
                    <a:pt x="137731" y="237367"/>
                  </a:lnTo>
                  <a:lnTo>
                    <a:pt x="137731" y="6576"/>
                  </a:lnTo>
                  <a:lnTo>
                    <a:pt x="571" y="6576"/>
                  </a:lnTo>
                  <a:lnTo>
                    <a:pt x="571" y="237748"/>
                  </a:lnTo>
                  <a:lnTo>
                    <a:pt x="43053" y="237748"/>
                  </a:lnTo>
                  <a:close/>
                  <a:moveTo>
                    <a:pt x="784288" y="124591"/>
                  </a:moveTo>
                  <a:lnTo>
                    <a:pt x="837343" y="124591"/>
                  </a:lnTo>
                  <a:lnTo>
                    <a:pt x="849249" y="237367"/>
                  </a:lnTo>
                  <a:lnTo>
                    <a:pt x="892112" y="237367"/>
                  </a:lnTo>
                  <a:lnTo>
                    <a:pt x="872490" y="68488"/>
                  </a:lnTo>
                  <a:cubicBezTo>
                    <a:pt x="873996" y="49718"/>
                    <a:pt x="866459" y="31355"/>
                    <a:pt x="852202" y="19054"/>
                  </a:cubicBezTo>
                  <a:cubicBezTo>
                    <a:pt x="839458" y="10072"/>
                    <a:pt x="824047" y="5673"/>
                    <a:pt x="808482" y="6576"/>
                  </a:cubicBezTo>
                  <a:lnTo>
                    <a:pt x="745522" y="6576"/>
                  </a:lnTo>
                  <a:lnTo>
                    <a:pt x="737711" y="237748"/>
                  </a:lnTo>
                  <a:lnTo>
                    <a:pt x="780193" y="237748"/>
                  </a:lnTo>
                  <a:close/>
                  <a:moveTo>
                    <a:pt x="786098" y="44676"/>
                  </a:moveTo>
                  <a:lnTo>
                    <a:pt x="801529" y="44676"/>
                  </a:lnTo>
                  <a:cubicBezTo>
                    <a:pt x="810453" y="43757"/>
                    <a:pt x="819204" y="47590"/>
                    <a:pt x="824579" y="54772"/>
                  </a:cubicBezTo>
                  <a:cubicBezTo>
                    <a:pt x="829309" y="64609"/>
                    <a:pt x="831998" y="75301"/>
                    <a:pt x="832485" y="86205"/>
                  </a:cubicBezTo>
                  <a:lnTo>
                    <a:pt x="784860" y="86205"/>
                  </a:lnTo>
                  <a:close/>
                  <a:moveTo>
                    <a:pt x="709898" y="335474"/>
                  </a:moveTo>
                  <a:lnTo>
                    <a:pt x="624935" y="424247"/>
                  </a:lnTo>
                  <a:lnTo>
                    <a:pt x="624935" y="343380"/>
                  </a:lnTo>
                  <a:lnTo>
                    <a:pt x="587788" y="343380"/>
                  </a:lnTo>
                  <a:lnTo>
                    <a:pt x="587788" y="573218"/>
                  </a:lnTo>
                  <a:lnTo>
                    <a:pt x="624935" y="573218"/>
                  </a:lnTo>
                  <a:lnTo>
                    <a:pt x="624935" y="478825"/>
                  </a:lnTo>
                  <a:lnTo>
                    <a:pt x="678847" y="421675"/>
                  </a:lnTo>
                  <a:lnTo>
                    <a:pt x="684276" y="573123"/>
                  </a:lnTo>
                  <a:lnTo>
                    <a:pt x="722376" y="573123"/>
                  </a:lnTo>
                  <a:lnTo>
                    <a:pt x="712851" y="332331"/>
                  </a:lnTo>
                  <a:close/>
                  <a:moveTo>
                    <a:pt x="611981" y="237462"/>
                  </a:moveTo>
                  <a:lnTo>
                    <a:pt x="654463" y="237462"/>
                  </a:lnTo>
                  <a:lnTo>
                    <a:pt x="654463" y="44676"/>
                  </a:lnTo>
                  <a:lnTo>
                    <a:pt x="690277" y="44676"/>
                  </a:lnTo>
                  <a:lnTo>
                    <a:pt x="690277" y="6576"/>
                  </a:lnTo>
                  <a:lnTo>
                    <a:pt x="576358" y="6576"/>
                  </a:lnTo>
                  <a:lnTo>
                    <a:pt x="576358" y="44676"/>
                  </a:lnTo>
                  <a:lnTo>
                    <a:pt x="611600" y="44676"/>
                  </a:lnTo>
                  <a:close/>
                  <a:moveTo>
                    <a:pt x="890207" y="332712"/>
                  </a:moveTo>
                  <a:lnTo>
                    <a:pt x="887254" y="335855"/>
                  </a:lnTo>
                  <a:lnTo>
                    <a:pt x="802291" y="424628"/>
                  </a:lnTo>
                  <a:lnTo>
                    <a:pt x="802291" y="343761"/>
                  </a:lnTo>
                  <a:lnTo>
                    <a:pt x="765143" y="343761"/>
                  </a:lnTo>
                  <a:lnTo>
                    <a:pt x="765143" y="573599"/>
                  </a:lnTo>
                  <a:lnTo>
                    <a:pt x="802291" y="573599"/>
                  </a:lnTo>
                  <a:lnTo>
                    <a:pt x="802291" y="479206"/>
                  </a:lnTo>
                  <a:lnTo>
                    <a:pt x="856202" y="422056"/>
                  </a:lnTo>
                  <a:cubicBezTo>
                    <a:pt x="856202" y="430343"/>
                    <a:pt x="861632" y="573504"/>
                    <a:pt x="861632" y="573504"/>
                  </a:cubicBezTo>
                  <a:lnTo>
                    <a:pt x="899732" y="573504"/>
                  </a:lnTo>
                  <a:close/>
                  <a:moveTo>
                    <a:pt x="482917" y="125829"/>
                  </a:moveTo>
                  <a:lnTo>
                    <a:pt x="482917" y="237462"/>
                  </a:lnTo>
                  <a:lnTo>
                    <a:pt x="525399" y="237462"/>
                  </a:lnTo>
                  <a:lnTo>
                    <a:pt x="525399" y="6576"/>
                  </a:lnTo>
                  <a:lnTo>
                    <a:pt x="482917" y="6576"/>
                  </a:lnTo>
                  <a:lnTo>
                    <a:pt x="482917" y="87062"/>
                  </a:lnTo>
                  <a:lnTo>
                    <a:pt x="459772" y="87062"/>
                  </a:lnTo>
                  <a:cubicBezTo>
                    <a:pt x="452155" y="87684"/>
                    <a:pt x="444588" y="85366"/>
                    <a:pt x="438626" y="80585"/>
                  </a:cubicBezTo>
                  <a:cubicBezTo>
                    <a:pt x="435287" y="77358"/>
                    <a:pt x="433514" y="72839"/>
                    <a:pt x="433768" y="68203"/>
                  </a:cubicBezTo>
                  <a:lnTo>
                    <a:pt x="433769" y="6576"/>
                  </a:lnTo>
                  <a:lnTo>
                    <a:pt x="391287" y="6576"/>
                  </a:lnTo>
                  <a:lnTo>
                    <a:pt x="391287" y="72298"/>
                  </a:lnTo>
                  <a:cubicBezTo>
                    <a:pt x="391171" y="87056"/>
                    <a:pt x="397757" y="101070"/>
                    <a:pt x="409194" y="110398"/>
                  </a:cubicBezTo>
                  <a:cubicBezTo>
                    <a:pt x="421081" y="120581"/>
                    <a:pt x="436314" y="126009"/>
                    <a:pt x="451961" y="125638"/>
                  </a:cubicBezTo>
                  <a:close/>
                  <a:moveTo>
                    <a:pt x="352044" y="516354"/>
                  </a:moveTo>
                  <a:cubicBezTo>
                    <a:pt x="328064" y="481845"/>
                    <a:pt x="327724" y="436155"/>
                    <a:pt x="351187" y="401292"/>
                  </a:cubicBezTo>
                  <a:cubicBezTo>
                    <a:pt x="364826" y="385259"/>
                    <a:pt x="385235" y="376608"/>
                    <a:pt x="406241" y="377956"/>
                  </a:cubicBezTo>
                  <a:lnTo>
                    <a:pt x="408051" y="377956"/>
                  </a:lnTo>
                  <a:lnTo>
                    <a:pt x="408051" y="337855"/>
                  </a:lnTo>
                  <a:lnTo>
                    <a:pt x="406241" y="337855"/>
                  </a:lnTo>
                  <a:cubicBezTo>
                    <a:pt x="368808" y="337855"/>
                    <a:pt x="339566" y="349571"/>
                    <a:pt x="320516" y="372622"/>
                  </a:cubicBezTo>
                  <a:cubicBezTo>
                    <a:pt x="302800" y="393481"/>
                    <a:pt x="293751" y="422628"/>
                    <a:pt x="293751" y="459109"/>
                  </a:cubicBezTo>
                  <a:cubicBezTo>
                    <a:pt x="292392" y="490453"/>
                    <a:pt x="302748" y="521182"/>
                    <a:pt x="322802" y="545310"/>
                  </a:cubicBezTo>
                  <a:cubicBezTo>
                    <a:pt x="344232" y="568887"/>
                    <a:pt x="375086" y="581641"/>
                    <a:pt x="406908" y="580076"/>
                  </a:cubicBezTo>
                  <a:lnTo>
                    <a:pt x="408718" y="580076"/>
                  </a:lnTo>
                  <a:lnTo>
                    <a:pt x="408718" y="539976"/>
                  </a:lnTo>
                  <a:lnTo>
                    <a:pt x="406908" y="539976"/>
                  </a:lnTo>
                  <a:cubicBezTo>
                    <a:pt x="386068" y="540967"/>
                    <a:pt x="365946" y="532243"/>
                    <a:pt x="352425" y="516354"/>
                  </a:cubicBezTo>
                  <a:close/>
                  <a:moveTo>
                    <a:pt x="494919" y="516354"/>
                  </a:moveTo>
                  <a:cubicBezTo>
                    <a:pt x="470939" y="481845"/>
                    <a:pt x="470599" y="436155"/>
                    <a:pt x="494062" y="401292"/>
                  </a:cubicBezTo>
                  <a:cubicBezTo>
                    <a:pt x="507701" y="385259"/>
                    <a:pt x="528110" y="376608"/>
                    <a:pt x="549116" y="377956"/>
                  </a:cubicBezTo>
                  <a:lnTo>
                    <a:pt x="550926" y="377956"/>
                  </a:lnTo>
                  <a:lnTo>
                    <a:pt x="550926" y="337855"/>
                  </a:lnTo>
                  <a:lnTo>
                    <a:pt x="549116" y="337855"/>
                  </a:lnTo>
                  <a:cubicBezTo>
                    <a:pt x="511683" y="337855"/>
                    <a:pt x="482441" y="349571"/>
                    <a:pt x="463391" y="372622"/>
                  </a:cubicBezTo>
                  <a:cubicBezTo>
                    <a:pt x="445675" y="393481"/>
                    <a:pt x="436626" y="422628"/>
                    <a:pt x="436626" y="459109"/>
                  </a:cubicBezTo>
                  <a:cubicBezTo>
                    <a:pt x="435267" y="490453"/>
                    <a:pt x="445623" y="521182"/>
                    <a:pt x="465677" y="545310"/>
                  </a:cubicBezTo>
                  <a:cubicBezTo>
                    <a:pt x="487107" y="568887"/>
                    <a:pt x="517961" y="581641"/>
                    <a:pt x="549783" y="580076"/>
                  </a:cubicBezTo>
                  <a:lnTo>
                    <a:pt x="551593" y="580076"/>
                  </a:lnTo>
                  <a:lnTo>
                    <a:pt x="551593" y="539976"/>
                  </a:lnTo>
                  <a:lnTo>
                    <a:pt x="549783" y="539976"/>
                  </a:lnTo>
                  <a:cubicBezTo>
                    <a:pt x="528649" y="541239"/>
                    <a:pt x="508150" y="532490"/>
                    <a:pt x="494443" y="51635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20" name="Прямая соединительная линия 19">
            <a:extLst>
              <a:ext uri="{FF2B5EF4-FFF2-40B4-BE49-F238E27FC236}">
                <a16:creationId xmlns="" xmlns:a16="http://schemas.microsoft.com/office/drawing/2014/main" id="{743C5332-9ACA-418C-BE7B-9AA09BF08BC6}"/>
              </a:ext>
            </a:extLst>
          </p:cNvPr>
          <p:cNvCxnSpPr>
            <a:cxnSpLocks/>
          </p:cNvCxnSpPr>
          <p:nvPr userDrawn="1"/>
        </p:nvCxnSpPr>
        <p:spPr>
          <a:xfrm>
            <a:off x="821190" y="2241322"/>
            <a:ext cx="0" cy="3626078"/>
          </a:xfrm>
          <a:prstGeom prst="line">
            <a:avLst/>
          </a:prstGeom>
          <a:ln w="12700">
            <a:solidFill>
              <a:schemeClr val="bg1">
                <a:lumMod val="75000"/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>
            <a:extLst>
              <a:ext uri="{FF2B5EF4-FFF2-40B4-BE49-F238E27FC236}">
                <a16:creationId xmlns="" xmlns:a16="http://schemas.microsoft.com/office/drawing/2014/main" id="{25744AD9-A404-4997-B58E-93F91CF38D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1691" y="2923453"/>
            <a:ext cx="4260340" cy="20969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54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не более 3 строк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="" xmlns:a16="http://schemas.microsoft.com/office/drawing/2014/main" id="{E4543A4C-000C-4826-B0FE-937834585B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1690" y="5270803"/>
            <a:ext cx="5452475" cy="441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Укажите название подразделения</a:t>
            </a:r>
          </a:p>
        </p:txBody>
      </p:sp>
    </p:spTree>
    <p:extLst>
      <p:ext uri="{BB962C8B-B14F-4D97-AF65-F5344CB8AC3E}">
        <p14:creationId xmlns:p14="http://schemas.microsoft.com/office/powerpoint/2010/main" val="2502467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4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бл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76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58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E1FF9118-2B4B-49FD-A1EF-ED20E6021692}"/>
              </a:ext>
            </a:extLst>
          </p:cNvPr>
          <p:cNvSpPr/>
          <p:nvPr userDrawn="1"/>
        </p:nvSpPr>
        <p:spPr>
          <a:xfrm>
            <a:off x="9474201" y="0"/>
            <a:ext cx="2717799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8000" rIns="216000" rtlCol="0" anchor="ctr"/>
          <a:lstStyle/>
          <a:p>
            <a:pPr lvl="0">
              <a:lnSpc>
                <a:spcPct val="110000"/>
              </a:lnSpc>
              <a:spcAft>
                <a:spcPts val="1200"/>
              </a:spcAft>
              <a:buClr>
                <a:srgbClr val="1937FF"/>
              </a:buClr>
              <a:defRPr/>
            </a:pPr>
            <a:endParaRPr lang="ru-RU" sz="1200" dirty="0">
              <a:solidFill>
                <a:prstClr val="white">
                  <a:alpha val="70000"/>
                </a:prstClr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481587"/>
            <a:ext cx="8647458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EA5E833F-D606-4328-B2C0-3D231EBDF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олилиния: фигура 10">
            <a:extLst>
              <a:ext uri="{FF2B5EF4-FFF2-40B4-BE49-F238E27FC236}">
                <a16:creationId xmlns="" xmlns:a16="http://schemas.microsoft.com/office/drawing/2014/main" id="{189DA1CC-EB83-420E-A1D3-1CDDF7BDE371}"/>
              </a:ext>
            </a:extLst>
          </p:cNvPr>
          <p:cNvSpPr/>
          <p:nvPr userDrawn="1"/>
        </p:nvSpPr>
        <p:spPr>
          <a:xfrm>
            <a:off x="11010898" y="382414"/>
            <a:ext cx="630240" cy="630293"/>
          </a:xfrm>
          <a:custGeom>
            <a:avLst/>
            <a:gdLst>
              <a:gd name="connsiteX0" fmla="*/ 72368 w 572945"/>
              <a:gd name="connsiteY0" fmla="*/ 331981 h 572994"/>
              <a:gd name="connsiteX1" fmla="*/ 73162 w 572945"/>
              <a:gd name="connsiteY1" fmla="*/ 331981 h 572994"/>
              <a:gd name="connsiteX2" fmla="*/ 83827 w 572945"/>
              <a:gd name="connsiteY2" fmla="*/ 339670 h 572994"/>
              <a:gd name="connsiteX3" fmla="*/ 87844 w 572945"/>
              <a:gd name="connsiteY3" fmla="*/ 365115 h 572994"/>
              <a:gd name="connsiteX4" fmla="*/ 85165 w 572945"/>
              <a:gd name="connsiteY4" fmla="*/ 379251 h 572994"/>
              <a:gd name="connsiteX5" fmla="*/ 79660 w 572945"/>
              <a:gd name="connsiteY5" fmla="*/ 383864 h 572994"/>
              <a:gd name="connsiteX6" fmla="*/ 74700 w 572945"/>
              <a:gd name="connsiteY6" fmla="*/ 379797 h 572994"/>
              <a:gd name="connsiteX7" fmla="*/ 72368 w 572945"/>
              <a:gd name="connsiteY7" fmla="*/ 367148 h 572994"/>
              <a:gd name="connsiteX8" fmla="*/ 155153 w 572945"/>
              <a:gd name="connsiteY8" fmla="*/ 330394 h 572994"/>
              <a:gd name="connsiteX9" fmla="*/ 167057 w 572945"/>
              <a:gd name="connsiteY9" fmla="*/ 342100 h 572994"/>
              <a:gd name="connsiteX10" fmla="*/ 170530 w 572945"/>
              <a:gd name="connsiteY10" fmla="*/ 372952 h 572994"/>
              <a:gd name="connsiteX11" fmla="*/ 166462 w 572945"/>
              <a:gd name="connsiteY11" fmla="*/ 404746 h 572994"/>
              <a:gd name="connsiteX12" fmla="*/ 155153 w 572945"/>
              <a:gd name="connsiteY12" fmla="*/ 416601 h 572994"/>
              <a:gd name="connsiteX13" fmla="*/ 144092 w 572945"/>
              <a:gd name="connsiteY13" fmla="*/ 404598 h 572994"/>
              <a:gd name="connsiteX14" fmla="*/ 140025 w 572945"/>
              <a:gd name="connsiteY14" fmla="*/ 373250 h 572994"/>
              <a:gd name="connsiteX15" fmla="*/ 144042 w 572945"/>
              <a:gd name="connsiteY15" fmla="*/ 341951 h 572994"/>
              <a:gd name="connsiteX16" fmla="*/ 155153 w 572945"/>
              <a:gd name="connsiteY16" fmla="*/ 330394 h 572994"/>
              <a:gd name="connsiteX17" fmla="*/ 52379 w 572945"/>
              <a:gd name="connsiteY17" fmla="*/ 314125 h 572994"/>
              <a:gd name="connsiteX18" fmla="*/ 52379 w 572945"/>
              <a:gd name="connsiteY18" fmla="*/ 433515 h 572994"/>
              <a:gd name="connsiteX19" fmla="*/ 72220 w 572945"/>
              <a:gd name="connsiteY19" fmla="*/ 433515 h 572994"/>
              <a:gd name="connsiteX20" fmla="*/ 72220 w 572945"/>
              <a:gd name="connsiteY20" fmla="*/ 398794 h 572994"/>
              <a:gd name="connsiteX21" fmla="*/ 97189 w 572945"/>
              <a:gd name="connsiteY21" fmla="*/ 399149 h 572994"/>
              <a:gd name="connsiteX22" fmla="*/ 100939 w 572945"/>
              <a:gd name="connsiteY22" fmla="*/ 393834 h 572994"/>
              <a:gd name="connsiteX23" fmla="*/ 108032 w 572945"/>
              <a:gd name="connsiteY23" fmla="*/ 360105 h 572994"/>
              <a:gd name="connsiteX24" fmla="*/ 102328 w 572945"/>
              <a:gd name="connsiteY24" fmla="*/ 332824 h 572994"/>
              <a:gd name="connsiteX25" fmla="*/ 73063 w 572945"/>
              <a:gd name="connsiteY25" fmla="*/ 314125 h 572994"/>
              <a:gd name="connsiteX26" fmla="*/ 338331 w 572945"/>
              <a:gd name="connsiteY26" fmla="*/ 311049 h 572994"/>
              <a:gd name="connsiteX27" fmla="*/ 293689 w 572945"/>
              <a:gd name="connsiteY27" fmla="*/ 329154 h 572994"/>
              <a:gd name="connsiteX28" fmla="*/ 279752 w 572945"/>
              <a:gd name="connsiteY28" fmla="*/ 374192 h 572994"/>
              <a:gd name="connsiteX29" fmla="*/ 294880 w 572945"/>
              <a:gd name="connsiteY29" fmla="*/ 419081 h 572994"/>
              <a:gd name="connsiteX30" fmla="*/ 338678 w 572945"/>
              <a:gd name="connsiteY30" fmla="*/ 437185 h 572994"/>
              <a:gd name="connsiteX31" fmla="*/ 339621 w 572945"/>
              <a:gd name="connsiteY31" fmla="*/ 437185 h 572994"/>
              <a:gd name="connsiteX32" fmla="*/ 339621 w 572945"/>
              <a:gd name="connsiteY32" fmla="*/ 416303 h 572994"/>
              <a:gd name="connsiteX33" fmla="*/ 338678 w 572945"/>
              <a:gd name="connsiteY33" fmla="*/ 416303 h 572994"/>
              <a:gd name="connsiteX34" fmla="*/ 309860 w 572945"/>
              <a:gd name="connsiteY34" fmla="*/ 404002 h 572994"/>
              <a:gd name="connsiteX35" fmla="*/ 310108 w 572945"/>
              <a:gd name="connsiteY35" fmla="*/ 404002 h 572994"/>
              <a:gd name="connsiteX36" fmla="*/ 309661 w 572945"/>
              <a:gd name="connsiteY36" fmla="*/ 344084 h 572994"/>
              <a:gd name="connsiteX37" fmla="*/ 338331 w 572945"/>
              <a:gd name="connsiteY37" fmla="*/ 331932 h 572994"/>
              <a:gd name="connsiteX38" fmla="*/ 339273 w 572945"/>
              <a:gd name="connsiteY38" fmla="*/ 331932 h 572994"/>
              <a:gd name="connsiteX39" fmla="*/ 339273 w 572945"/>
              <a:gd name="connsiteY39" fmla="*/ 311049 h 572994"/>
              <a:gd name="connsiteX40" fmla="*/ 263929 w 572945"/>
              <a:gd name="connsiteY40" fmla="*/ 311049 h 572994"/>
              <a:gd name="connsiteX41" fmla="*/ 219287 w 572945"/>
              <a:gd name="connsiteY41" fmla="*/ 329154 h 572994"/>
              <a:gd name="connsiteX42" fmla="*/ 205350 w 572945"/>
              <a:gd name="connsiteY42" fmla="*/ 374192 h 572994"/>
              <a:gd name="connsiteX43" fmla="*/ 220478 w 572945"/>
              <a:gd name="connsiteY43" fmla="*/ 419081 h 572994"/>
              <a:gd name="connsiteX44" fmla="*/ 264276 w 572945"/>
              <a:gd name="connsiteY44" fmla="*/ 437185 h 572994"/>
              <a:gd name="connsiteX45" fmla="*/ 265218 w 572945"/>
              <a:gd name="connsiteY45" fmla="*/ 437185 h 572994"/>
              <a:gd name="connsiteX46" fmla="*/ 265218 w 572945"/>
              <a:gd name="connsiteY46" fmla="*/ 416303 h 572994"/>
              <a:gd name="connsiteX47" fmla="*/ 264276 w 572945"/>
              <a:gd name="connsiteY47" fmla="*/ 416303 h 572994"/>
              <a:gd name="connsiteX48" fmla="*/ 235904 w 572945"/>
              <a:gd name="connsiteY48" fmla="*/ 404002 h 572994"/>
              <a:gd name="connsiteX49" fmla="*/ 235706 w 572945"/>
              <a:gd name="connsiteY49" fmla="*/ 404002 h 572994"/>
              <a:gd name="connsiteX50" fmla="*/ 235259 w 572945"/>
              <a:gd name="connsiteY50" fmla="*/ 344084 h 572994"/>
              <a:gd name="connsiteX51" fmla="*/ 263929 w 572945"/>
              <a:gd name="connsiteY51" fmla="*/ 331932 h 572994"/>
              <a:gd name="connsiteX52" fmla="*/ 264871 w 572945"/>
              <a:gd name="connsiteY52" fmla="*/ 331932 h 572994"/>
              <a:gd name="connsiteX53" fmla="*/ 264871 w 572945"/>
              <a:gd name="connsiteY53" fmla="*/ 311049 h 572994"/>
              <a:gd name="connsiteX54" fmla="*/ 155104 w 572945"/>
              <a:gd name="connsiteY54" fmla="*/ 311049 h 572994"/>
              <a:gd name="connsiteX55" fmla="*/ 130303 w 572945"/>
              <a:gd name="connsiteY55" fmla="*/ 328410 h 572994"/>
              <a:gd name="connsiteX56" fmla="*/ 121474 w 572945"/>
              <a:gd name="connsiteY56" fmla="*/ 373051 h 572994"/>
              <a:gd name="connsiteX57" fmla="*/ 129906 w 572945"/>
              <a:gd name="connsiteY57" fmla="*/ 418635 h 572994"/>
              <a:gd name="connsiteX58" fmla="*/ 155054 w 572945"/>
              <a:gd name="connsiteY58" fmla="*/ 435896 h 572994"/>
              <a:gd name="connsiteX59" fmla="*/ 181293 w 572945"/>
              <a:gd name="connsiteY59" fmla="*/ 417791 h 572994"/>
              <a:gd name="connsiteX60" fmla="*/ 190122 w 572945"/>
              <a:gd name="connsiteY60" fmla="*/ 372853 h 572994"/>
              <a:gd name="connsiteX61" fmla="*/ 181006 w 572945"/>
              <a:gd name="connsiteY61" fmla="*/ 328265 h 572994"/>
              <a:gd name="connsiteX62" fmla="*/ 181045 w 572945"/>
              <a:gd name="connsiteY62" fmla="*/ 328311 h 572994"/>
              <a:gd name="connsiteX63" fmla="*/ 180995 w 572945"/>
              <a:gd name="connsiteY63" fmla="*/ 328212 h 572994"/>
              <a:gd name="connsiteX64" fmla="*/ 181006 w 572945"/>
              <a:gd name="connsiteY64" fmla="*/ 328265 h 572994"/>
              <a:gd name="connsiteX65" fmla="*/ 169916 w 572945"/>
              <a:gd name="connsiteY65" fmla="*/ 315383 h 572994"/>
              <a:gd name="connsiteX66" fmla="*/ 155104 w 572945"/>
              <a:gd name="connsiteY66" fmla="*/ 311049 h 572994"/>
              <a:gd name="connsiteX67" fmla="*/ 515953 w 572945"/>
              <a:gd name="connsiteY67" fmla="*/ 308371 h 572994"/>
              <a:gd name="connsiteX68" fmla="*/ 514416 w 572945"/>
              <a:gd name="connsiteY68" fmla="*/ 310008 h 572994"/>
              <a:gd name="connsiteX69" fmla="*/ 470171 w 572945"/>
              <a:gd name="connsiteY69" fmla="*/ 356236 h 572994"/>
              <a:gd name="connsiteX70" fmla="*/ 470171 w 572945"/>
              <a:gd name="connsiteY70" fmla="*/ 314125 h 572994"/>
              <a:gd name="connsiteX71" fmla="*/ 450826 w 572945"/>
              <a:gd name="connsiteY71" fmla="*/ 314125 h 572994"/>
              <a:gd name="connsiteX72" fmla="*/ 450826 w 572945"/>
              <a:gd name="connsiteY72" fmla="*/ 433813 h 572994"/>
              <a:gd name="connsiteX73" fmla="*/ 470171 w 572945"/>
              <a:gd name="connsiteY73" fmla="*/ 433813 h 572994"/>
              <a:gd name="connsiteX74" fmla="*/ 470171 w 572945"/>
              <a:gd name="connsiteY74" fmla="*/ 384658 h 572994"/>
              <a:gd name="connsiteX75" fmla="*/ 498245 w 572945"/>
              <a:gd name="connsiteY75" fmla="*/ 354897 h 572994"/>
              <a:gd name="connsiteX76" fmla="*/ 501073 w 572945"/>
              <a:gd name="connsiteY76" fmla="*/ 433763 h 572994"/>
              <a:gd name="connsiteX77" fmla="*/ 520914 w 572945"/>
              <a:gd name="connsiteY77" fmla="*/ 433763 h 572994"/>
              <a:gd name="connsiteX78" fmla="*/ 423595 w 572945"/>
              <a:gd name="connsiteY78" fmla="*/ 308173 h 572994"/>
              <a:gd name="connsiteX79" fmla="*/ 422058 w 572945"/>
              <a:gd name="connsiteY79" fmla="*/ 309809 h 572994"/>
              <a:gd name="connsiteX80" fmla="*/ 377813 w 572945"/>
              <a:gd name="connsiteY80" fmla="*/ 356038 h 572994"/>
              <a:gd name="connsiteX81" fmla="*/ 377813 w 572945"/>
              <a:gd name="connsiteY81" fmla="*/ 313926 h 572994"/>
              <a:gd name="connsiteX82" fmla="*/ 358469 w 572945"/>
              <a:gd name="connsiteY82" fmla="*/ 313926 h 572994"/>
              <a:gd name="connsiteX83" fmla="*/ 358469 w 572945"/>
              <a:gd name="connsiteY83" fmla="*/ 433614 h 572994"/>
              <a:gd name="connsiteX84" fmla="*/ 377813 w 572945"/>
              <a:gd name="connsiteY84" fmla="*/ 433614 h 572994"/>
              <a:gd name="connsiteX85" fmla="*/ 377813 w 572945"/>
              <a:gd name="connsiteY85" fmla="*/ 384459 h 572994"/>
              <a:gd name="connsiteX86" fmla="*/ 405888 w 572945"/>
              <a:gd name="connsiteY86" fmla="*/ 354698 h 572994"/>
              <a:gd name="connsiteX87" fmla="*/ 408715 w 572945"/>
              <a:gd name="connsiteY87" fmla="*/ 433565 h 572994"/>
              <a:gd name="connsiteX88" fmla="*/ 428556 w 572945"/>
              <a:gd name="connsiteY88" fmla="*/ 433565 h 572994"/>
              <a:gd name="connsiteX89" fmla="*/ 461739 w 572945"/>
              <a:gd name="connsiteY89" fmla="*/ 158377 h 572994"/>
              <a:gd name="connsiteX90" fmla="*/ 469774 w 572945"/>
              <a:gd name="connsiteY90" fmla="*/ 158377 h 572994"/>
              <a:gd name="connsiteX91" fmla="*/ 481778 w 572945"/>
              <a:gd name="connsiteY91" fmla="*/ 163634 h 572994"/>
              <a:gd name="connsiteX92" fmla="*/ 485895 w 572945"/>
              <a:gd name="connsiteY92" fmla="*/ 180003 h 572994"/>
              <a:gd name="connsiteX93" fmla="*/ 461094 w 572945"/>
              <a:gd name="connsiteY93" fmla="*/ 180003 h 572994"/>
              <a:gd name="connsiteX94" fmla="*/ 192404 w 572945"/>
              <a:gd name="connsiteY94" fmla="*/ 155698 h 572994"/>
              <a:gd name="connsiteX95" fmla="*/ 205449 w 572945"/>
              <a:gd name="connsiteY95" fmla="*/ 167107 h 572994"/>
              <a:gd name="connsiteX96" fmla="*/ 209318 w 572945"/>
              <a:gd name="connsiteY96" fmla="*/ 197760 h 572994"/>
              <a:gd name="connsiteX97" fmla="*/ 204804 w 572945"/>
              <a:gd name="connsiteY97" fmla="*/ 229306 h 572994"/>
              <a:gd name="connsiteX98" fmla="*/ 204754 w 572945"/>
              <a:gd name="connsiteY98" fmla="*/ 229108 h 572994"/>
              <a:gd name="connsiteX99" fmla="*/ 192354 w 572945"/>
              <a:gd name="connsiteY99" fmla="*/ 240666 h 572994"/>
              <a:gd name="connsiteX100" fmla="*/ 180301 w 572945"/>
              <a:gd name="connsiteY100" fmla="*/ 228910 h 572994"/>
              <a:gd name="connsiteX101" fmla="*/ 175787 w 572945"/>
              <a:gd name="connsiteY101" fmla="*/ 198058 h 572994"/>
              <a:gd name="connsiteX102" fmla="*/ 180251 w 572945"/>
              <a:gd name="connsiteY102" fmla="*/ 166958 h 572994"/>
              <a:gd name="connsiteX103" fmla="*/ 192404 w 572945"/>
              <a:gd name="connsiteY103" fmla="*/ 155698 h 572994"/>
              <a:gd name="connsiteX104" fmla="*/ 440609 w 572945"/>
              <a:gd name="connsiteY104" fmla="*/ 138536 h 572994"/>
              <a:gd name="connsiteX105" fmla="*/ 436541 w 572945"/>
              <a:gd name="connsiteY105" fmla="*/ 258919 h 572994"/>
              <a:gd name="connsiteX106" fmla="*/ 458664 w 572945"/>
              <a:gd name="connsiteY106" fmla="*/ 258919 h 572994"/>
              <a:gd name="connsiteX107" fmla="*/ 460796 w 572945"/>
              <a:gd name="connsiteY107" fmla="*/ 199993 h 572994"/>
              <a:gd name="connsiteX108" fmla="*/ 488425 w 572945"/>
              <a:gd name="connsiteY108" fmla="*/ 199993 h 572994"/>
              <a:gd name="connsiteX109" fmla="*/ 494625 w 572945"/>
              <a:gd name="connsiteY109" fmla="*/ 258720 h 572994"/>
              <a:gd name="connsiteX110" fmla="*/ 516945 w 572945"/>
              <a:gd name="connsiteY110" fmla="*/ 258720 h 572994"/>
              <a:gd name="connsiteX111" fmla="*/ 506727 w 572945"/>
              <a:gd name="connsiteY111" fmla="*/ 170777 h 572994"/>
              <a:gd name="connsiteX112" fmla="*/ 496162 w 572945"/>
              <a:gd name="connsiteY112" fmla="*/ 145034 h 572994"/>
              <a:gd name="connsiteX113" fmla="*/ 473395 w 572945"/>
              <a:gd name="connsiteY113" fmla="*/ 138536 h 572994"/>
              <a:gd name="connsiteX114" fmla="*/ 352517 w 572945"/>
              <a:gd name="connsiteY114" fmla="*/ 138536 h 572994"/>
              <a:gd name="connsiteX115" fmla="*/ 352517 w 572945"/>
              <a:gd name="connsiteY115" fmla="*/ 158377 h 572994"/>
              <a:gd name="connsiteX116" fmla="*/ 370869 w 572945"/>
              <a:gd name="connsiteY116" fmla="*/ 158377 h 572994"/>
              <a:gd name="connsiteX117" fmla="*/ 371067 w 572945"/>
              <a:gd name="connsiteY117" fmla="*/ 258770 h 572994"/>
              <a:gd name="connsiteX118" fmla="*/ 393190 w 572945"/>
              <a:gd name="connsiteY118" fmla="*/ 258770 h 572994"/>
              <a:gd name="connsiteX119" fmla="*/ 393190 w 572945"/>
              <a:gd name="connsiteY119" fmla="*/ 158377 h 572994"/>
              <a:gd name="connsiteX120" fmla="*/ 411840 w 572945"/>
              <a:gd name="connsiteY120" fmla="*/ 158377 h 572994"/>
              <a:gd name="connsiteX121" fmla="*/ 411840 w 572945"/>
              <a:gd name="connsiteY121" fmla="*/ 138536 h 572994"/>
              <a:gd name="connsiteX122" fmla="*/ 256141 w 572945"/>
              <a:gd name="connsiteY122" fmla="*/ 138536 h 572994"/>
              <a:gd name="connsiteX123" fmla="*/ 256141 w 572945"/>
              <a:gd name="connsiteY123" fmla="*/ 172761 h 572994"/>
              <a:gd name="connsiteX124" fmla="*/ 265466 w 572945"/>
              <a:gd name="connsiteY124" fmla="*/ 192602 h 572994"/>
              <a:gd name="connsiteX125" fmla="*/ 287737 w 572945"/>
              <a:gd name="connsiteY125" fmla="*/ 200538 h 572994"/>
              <a:gd name="connsiteX126" fmla="*/ 303858 w 572945"/>
              <a:gd name="connsiteY126" fmla="*/ 200637 h 572994"/>
              <a:gd name="connsiteX127" fmla="*/ 303858 w 572945"/>
              <a:gd name="connsiteY127" fmla="*/ 258770 h 572994"/>
              <a:gd name="connsiteX128" fmla="*/ 325980 w 572945"/>
              <a:gd name="connsiteY128" fmla="*/ 258770 h 572994"/>
              <a:gd name="connsiteX129" fmla="*/ 325980 w 572945"/>
              <a:gd name="connsiteY129" fmla="*/ 138536 h 572994"/>
              <a:gd name="connsiteX130" fmla="*/ 303858 w 572945"/>
              <a:gd name="connsiteY130" fmla="*/ 138536 h 572994"/>
              <a:gd name="connsiteX131" fmla="*/ 303858 w 572945"/>
              <a:gd name="connsiteY131" fmla="*/ 180449 h 572994"/>
              <a:gd name="connsiteX132" fmla="*/ 291805 w 572945"/>
              <a:gd name="connsiteY132" fmla="*/ 180449 h 572994"/>
              <a:gd name="connsiteX133" fmla="*/ 280793 w 572945"/>
              <a:gd name="connsiteY133" fmla="*/ 177077 h 572994"/>
              <a:gd name="connsiteX134" fmla="*/ 278263 w 572945"/>
              <a:gd name="connsiteY134" fmla="*/ 170629 h 572994"/>
              <a:gd name="connsiteX135" fmla="*/ 278264 w 572945"/>
              <a:gd name="connsiteY135" fmla="*/ 138536 h 572994"/>
              <a:gd name="connsiteX136" fmla="*/ 52676 w 572945"/>
              <a:gd name="connsiteY136" fmla="*/ 138536 h 572994"/>
              <a:gd name="connsiteX137" fmla="*/ 52676 w 572945"/>
              <a:gd name="connsiteY137" fmla="*/ 258919 h 572994"/>
              <a:gd name="connsiteX138" fmla="*/ 74799 w 572945"/>
              <a:gd name="connsiteY138" fmla="*/ 258919 h 572994"/>
              <a:gd name="connsiteX139" fmla="*/ 74799 w 572945"/>
              <a:gd name="connsiteY139" fmla="*/ 158377 h 572994"/>
              <a:gd name="connsiteX140" fmla="*/ 101980 w 572945"/>
              <a:gd name="connsiteY140" fmla="*/ 158377 h 572994"/>
              <a:gd name="connsiteX141" fmla="*/ 101980 w 572945"/>
              <a:gd name="connsiteY141" fmla="*/ 258720 h 572994"/>
              <a:gd name="connsiteX142" fmla="*/ 124102 w 572945"/>
              <a:gd name="connsiteY142" fmla="*/ 258720 h 572994"/>
              <a:gd name="connsiteX143" fmla="*/ 124102 w 572945"/>
              <a:gd name="connsiteY143" fmla="*/ 138536 h 572994"/>
              <a:gd name="connsiteX144" fmla="*/ 192354 w 572945"/>
              <a:gd name="connsiteY144" fmla="*/ 135114 h 572994"/>
              <a:gd name="connsiteX145" fmla="*/ 164478 w 572945"/>
              <a:gd name="connsiteY145" fmla="*/ 152673 h 572994"/>
              <a:gd name="connsiteX146" fmla="*/ 154558 w 572945"/>
              <a:gd name="connsiteY146" fmla="*/ 197661 h 572994"/>
              <a:gd name="connsiteX147" fmla="*/ 164032 w 572945"/>
              <a:gd name="connsiteY147" fmla="*/ 243542 h 572994"/>
              <a:gd name="connsiteX148" fmla="*/ 192354 w 572945"/>
              <a:gd name="connsiteY148" fmla="*/ 261051 h 572994"/>
              <a:gd name="connsiteX149" fmla="*/ 221867 w 572945"/>
              <a:gd name="connsiteY149" fmla="*/ 242699 h 572994"/>
              <a:gd name="connsiteX150" fmla="*/ 231787 w 572945"/>
              <a:gd name="connsiteY150" fmla="*/ 197463 h 572994"/>
              <a:gd name="connsiteX151" fmla="*/ 221569 w 572945"/>
              <a:gd name="connsiteY151" fmla="*/ 152574 h 572994"/>
              <a:gd name="connsiteX152" fmla="*/ 192354 w 572945"/>
              <a:gd name="connsiteY152" fmla="*/ 135114 h 572994"/>
              <a:gd name="connsiteX153" fmla="*/ 22569 w 572945"/>
              <a:gd name="connsiteY153" fmla="*/ 0 h 572994"/>
              <a:gd name="connsiteX154" fmla="*/ 550377 w 572945"/>
              <a:gd name="connsiteY154" fmla="*/ 0 h 572994"/>
              <a:gd name="connsiteX155" fmla="*/ 572945 w 572945"/>
              <a:gd name="connsiteY155" fmla="*/ 22569 h 572994"/>
              <a:gd name="connsiteX156" fmla="*/ 572945 w 572945"/>
              <a:gd name="connsiteY156" fmla="*/ 550425 h 572994"/>
              <a:gd name="connsiteX157" fmla="*/ 550377 w 572945"/>
              <a:gd name="connsiteY157" fmla="*/ 572994 h 572994"/>
              <a:gd name="connsiteX158" fmla="*/ 22569 w 572945"/>
              <a:gd name="connsiteY158" fmla="*/ 572994 h 572994"/>
              <a:gd name="connsiteX159" fmla="*/ 0 w 572945"/>
              <a:gd name="connsiteY159" fmla="*/ 550425 h 572994"/>
              <a:gd name="connsiteX160" fmla="*/ 0 w 572945"/>
              <a:gd name="connsiteY160" fmla="*/ 22569 h 572994"/>
              <a:gd name="connsiteX161" fmla="*/ 22569 w 572945"/>
              <a:gd name="connsiteY161" fmla="*/ 0 h 572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572945" h="572994">
                <a:moveTo>
                  <a:pt x="72368" y="331981"/>
                </a:moveTo>
                <a:lnTo>
                  <a:pt x="73162" y="331981"/>
                </a:lnTo>
                <a:cubicBezTo>
                  <a:pt x="77956" y="332117"/>
                  <a:pt x="82182" y="335164"/>
                  <a:pt x="83827" y="339670"/>
                </a:cubicBezTo>
                <a:cubicBezTo>
                  <a:pt x="86987" y="347762"/>
                  <a:pt x="88358" y="356442"/>
                  <a:pt x="87844" y="365115"/>
                </a:cubicBezTo>
                <a:cubicBezTo>
                  <a:pt x="88047" y="369970"/>
                  <a:pt x="87130" y="374807"/>
                  <a:pt x="85165" y="379251"/>
                </a:cubicBezTo>
                <a:cubicBezTo>
                  <a:pt x="83578" y="382327"/>
                  <a:pt x="81743" y="383864"/>
                  <a:pt x="79660" y="383864"/>
                </a:cubicBezTo>
                <a:cubicBezTo>
                  <a:pt x="77576" y="383864"/>
                  <a:pt x="75989" y="382525"/>
                  <a:pt x="74700" y="379797"/>
                </a:cubicBezTo>
                <a:cubicBezTo>
                  <a:pt x="72940" y="375823"/>
                  <a:pt x="72141" y="371489"/>
                  <a:pt x="72368" y="367148"/>
                </a:cubicBezTo>
                <a:close/>
                <a:moveTo>
                  <a:pt x="155153" y="330394"/>
                </a:moveTo>
                <a:cubicBezTo>
                  <a:pt x="159964" y="330394"/>
                  <a:pt x="164527" y="334213"/>
                  <a:pt x="167057" y="342100"/>
                </a:cubicBezTo>
                <a:cubicBezTo>
                  <a:pt x="169731" y="352156"/>
                  <a:pt x="170901" y="362553"/>
                  <a:pt x="170530" y="372952"/>
                </a:cubicBezTo>
                <a:cubicBezTo>
                  <a:pt x="170822" y="383696"/>
                  <a:pt x="169450" y="394422"/>
                  <a:pt x="166462" y="404746"/>
                </a:cubicBezTo>
                <a:cubicBezTo>
                  <a:pt x="163883" y="412633"/>
                  <a:pt x="160064" y="416601"/>
                  <a:pt x="155153" y="416601"/>
                </a:cubicBezTo>
                <a:cubicBezTo>
                  <a:pt x="150242" y="416601"/>
                  <a:pt x="146720" y="412534"/>
                  <a:pt x="144092" y="404598"/>
                </a:cubicBezTo>
                <a:cubicBezTo>
                  <a:pt x="141132" y="394419"/>
                  <a:pt x="139760" y="383846"/>
                  <a:pt x="140025" y="373250"/>
                </a:cubicBezTo>
                <a:cubicBezTo>
                  <a:pt x="139730" y="362672"/>
                  <a:pt x="141085" y="352112"/>
                  <a:pt x="144042" y="341951"/>
                </a:cubicBezTo>
                <a:cubicBezTo>
                  <a:pt x="146572" y="334313"/>
                  <a:pt x="150342" y="330394"/>
                  <a:pt x="155153" y="330394"/>
                </a:cubicBezTo>
                <a:close/>
                <a:moveTo>
                  <a:pt x="52379" y="314125"/>
                </a:moveTo>
                <a:lnTo>
                  <a:pt x="52379" y="433515"/>
                </a:lnTo>
                <a:lnTo>
                  <a:pt x="72220" y="433515"/>
                </a:lnTo>
                <a:lnTo>
                  <a:pt x="72220" y="398794"/>
                </a:lnTo>
                <a:cubicBezTo>
                  <a:pt x="79017" y="405787"/>
                  <a:pt x="90196" y="405946"/>
                  <a:pt x="97189" y="399149"/>
                </a:cubicBezTo>
                <a:cubicBezTo>
                  <a:pt x="98757" y="397625"/>
                  <a:pt x="100029" y="395822"/>
                  <a:pt x="100939" y="393834"/>
                </a:cubicBezTo>
                <a:cubicBezTo>
                  <a:pt x="106271" y="383425"/>
                  <a:pt x="108720" y="371779"/>
                  <a:pt x="108032" y="360105"/>
                </a:cubicBezTo>
                <a:cubicBezTo>
                  <a:pt x="108206" y="350699"/>
                  <a:pt x="106257" y="341374"/>
                  <a:pt x="102328" y="332824"/>
                </a:cubicBezTo>
                <a:cubicBezTo>
                  <a:pt x="97442" y="321085"/>
                  <a:pt x="85768" y="313626"/>
                  <a:pt x="73063" y="314125"/>
                </a:cubicBezTo>
                <a:close/>
                <a:moveTo>
                  <a:pt x="338331" y="311049"/>
                </a:moveTo>
                <a:cubicBezTo>
                  <a:pt x="318837" y="311049"/>
                  <a:pt x="303610" y="317150"/>
                  <a:pt x="293689" y="329154"/>
                </a:cubicBezTo>
                <a:cubicBezTo>
                  <a:pt x="284464" y="340016"/>
                  <a:pt x="279752" y="355195"/>
                  <a:pt x="279752" y="374192"/>
                </a:cubicBezTo>
                <a:cubicBezTo>
                  <a:pt x="279044" y="390514"/>
                  <a:pt x="284437" y="406516"/>
                  <a:pt x="294880" y="419081"/>
                </a:cubicBezTo>
                <a:cubicBezTo>
                  <a:pt x="306039" y="431359"/>
                  <a:pt x="322107" y="438000"/>
                  <a:pt x="338678" y="437185"/>
                </a:cubicBezTo>
                <a:lnTo>
                  <a:pt x="339621" y="437185"/>
                </a:lnTo>
                <a:lnTo>
                  <a:pt x="339621" y="416303"/>
                </a:lnTo>
                <a:lnTo>
                  <a:pt x="338678" y="416303"/>
                </a:lnTo>
                <a:cubicBezTo>
                  <a:pt x="327672" y="416961"/>
                  <a:pt x="316998" y="412405"/>
                  <a:pt x="309860" y="404002"/>
                </a:cubicBezTo>
                <a:lnTo>
                  <a:pt x="310108" y="404002"/>
                </a:lnTo>
                <a:cubicBezTo>
                  <a:pt x="297620" y="386032"/>
                  <a:pt x="297443" y="362239"/>
                  <a:pt x="309661" y="344084"/>
                </a:cubicBezTo>
                <a:cubicBezTo>
                  <a:pt x="316764" y="335735"/>
                  <a:pt x="327392" y="331230"/>
                  <a:pt x="338331" y="331932"/>
                </a:cubicBezTo>
                <a:lnTo>
                  <a:pt x="339273" y="331932"/>
                </a:lnTo>
                <a:lnTo>
                  <a:pt x="339273" y="311049"/>
                </a:lnTo>
                <a:close/>
                <a:moveTo>
                  <a:pt x="263929" y="311049"/>
                </a:moveTo>
                <a:cubicBezTo>
                  <a:pt x="244435" y="311049"/>
                  <a:pt x="229208" y="317150"/>
                  <a:pt x="219287" y="329154"/>
                </a:cubicBezTo>
                <a:cubicBezTo>
                  <a:pt x="210062" y="340016"/>
                  <a:pt x="205350" y="355195"/>
                  <a:pt x="205350" y="374192"/>
                </a:cubicBezTo>
                <a:cubicBezTo>
                  <a:pt x="204642" y="390514"/>
                  <a:pt x="210035" y="406516"/>
                  <a:pt x="220478" y="419081"/>
                </a:cubicBezTo>
                <a:cubicBezTo>
                  <a:pt x="231637" y="431359"/>
                  <a:pt x="247705" y="438000"/>
                  <a:pt x="264276" y="437185"/>
                </a:cubicBezTo>
                <a:lnTo>
                  <a:pt x="265218" y="437185"/>
                </a:lnTo>
                <a:lnTo>
                  <a:pt x="265218" y="416303"/>
                </a:lnTo>
                <a:lnTo>
                  <a:pt x="264276" y="416303"/>
                </a:lnTo>
                <a:cubicBezTo>
                  <a:pt x="253424" y="416819"/>
                  <a:pt x="242945" y="412276"/>
                  <a:pt x="235904" y="404002"/>
                </a:cubicBezTo>
                <a:lnTo>
                  <a:pt x="235706" y="404002"/>
                </a:lnTo>
                <a:cubicBezTo>
                  <a:pt x="223218" y="386032"/>
                  <a:pt x="223041" y="362239"/>
                  <a:pt x="235259" y="344084"/>
                </a:cubicBezTo>
                <a:cubicBezTo>
                  <a:pt x="242362" y="335735"/>
                  <a:pt x="252990" y="331230"/>
                  <a:pt x="263929" y="331932"/>
                </a:cubicBezTo>
                <a:lnTo>
                  <a:pt x="264871" y="331932"/>
                </a:lnTo>
                <a:lnTo>
                  <a:pt x="264871" y="311049"/>
                </a:lnTo>
                <a:close/>
                <a:moveTo>
                  <a:pt x="155104" y="311049"/>
                </a:moveTo>
                <a:cubicBezTo>
                  <a:pt x="144042" y="311049"/>
                  <a:pt x="136304" y="316903"/>
                  <a:pt x="130303" y="328410"/>
                </a:cubicBezTo>
                <a:cubicBezTo>
                  <a:pt x="123893" y="342390"/>
                  <a:pt x="120868" y="357684"/>
                  <a:pt x="121474" y="373051"/>
                </a:cubicBezTo>
                <a:cubicBezTo>
                  <a:pt x="120809" y="388687"/>
                  <a:pt x="123692" y="404271"/>
                  <a:pt x="129906" y="418635"/>
                </a:cubicBezTo>
                <a:cubicBezTo>
                  <a:pt x="135610" y="430092"/>
                  <a:pt x="144042" y="435896"/>
                  <a:pt x="155054" y="435896"/>
                </a:cubicBezTo>
                <a:cubicBezTo>
                  <a:pt x="166065" y="435896"/>
                  <a:pt x="174894" y="429795"/>
                  <a:pt x="181293" y="417791"/>
                </a:cubicBezTo>
                <a:cubicBezTo>
                  <a:pt x="187735" y="403716"/>
                  <a:pt x="190760" y="388318"/>
                  <a:pt x="190122" y="372853"/>
                </a:cubicBezTo>
                <a:lnTo>
                  <a:pt x="181006" y="328265"/>
                </a:lnTo>
                <a:lnTo>
                  <a:pt x="181045" y="328311"/>
                </a:lnTo>
                <a:lnTo>
                  <a:pt x="180995" y="328212"/>
                </a:lnTo>
                <a:lnTo>
                  <a:pt x="181006" y="328265"/>
                </a:lnTo>
                <a:lnTo>
                  <a:pt x="169916" y="315383"/>
                </a:lnTo>
                <a:cubicBezTo>
                  <a:pt x="165582" y="312500"/>
                  <a:pt x="160635" y="311049"/>
                  <a:pt x="155104" y="311049"/>
                </a:cubicBezTo>
                <a:close/>
                <a:moveTo>
                  <a:pt x="515953" y="308371"/>
                </a:moveTo>
                <a:lnTo>
                  <a:pt x="514416" y="310008"/>
                </a:lnTo>
                <a:lnTo>
                  <a:pt x="470171" y="356236"/>
                </a:lnTo>
                <a:lnTo>
                  <a:pt x="470171" y="314125"/>
                </a:lnTo>
                <a:lnTo>
                  <a:pt x="450826" y="314125"/>
                </a:lnTo>
                <a:lnTo>
                  <a:pt x="450826" y="433813"/>
                </a:lnTo>
                <a:lnTo>
                  <a:pt x="470171" y="433813"/>
                </a:lnTo>
                <a:lnTo>
                  <a:pt x="470171" y="384658"/>
                </a:lnTo>
                <a:lnTo>
                  <a:pt x="498245" y="354897"/>
                </a:lnTo>
                <a:cubicBezTo>
                  <a:pt x="498245" y="359212"/>
                  <a:pt x="501073" y="433763"/>
                  <a:pt x="501073" y="433763"/>
                </a:cubicBezTo>
                <a:lnTo>
                  <a:pt x="520914" y="433763"/>
                </a:lnTo>
                <a:close/>
                <a:moveTo>
                  <a:pt x="423595" y="308173"/>
                </a:moveTo>
                <a:lnTo>
                  <a:pt x="422058" y="309809"/>
                </a:lnTo>
                <a:lnTo>
                  <a:pt x="377813" y="356038"/>
                </a:lnTo>
                <a:lnTo>
                  <a:pt x="377813" y="313926"/>
                </a:lnTo>
                <a:lnTo>
                  <a:pt x="358469" y="313926"/>
                </a:lnTo>
                <a:lnTo>
                  <a:pt x="358469" y="433614"/>
                </a:lnTo>
                <a:lnTo>
                  <a:pt x="377813" y="433614"/>
                </a:lnTo>
                <a:lnTo>
                  <a:pt x="377813" y="384459"/>
                </a:lnTo>
                <a:lnTo>
                  <a:pt x="405888" y="354698"/>
                </a:lnTo>
                <a:lnTo>
                  <a:pt x="408715" y="433565"/>
                </a:lnTo>
                <a:lnTo>
                  <a:pt x="428556" y="433565"/>
                </a:lnTo>
                <a:close/>
                <a:moveTo>
                  <a:pt x="461739" y="158377"/>
                </a:moveTo>
                <a:lnTo>
                  <a:pt x="469774" y="158377"/>
                </a:lnTo>
                <a:cubicBezTo>
                  <a:pt x="474422" y="157898"/>
                  <a:pt x="478979" y="159894"/>
                  <a:pt x="481778" y="163634"/>
                </a:cubicBezTo>
                <a:cubicBezTo>
                  <a:pt x="484241" y="168757"/>
                  <a:pt x="485641" y="174325"/>
                  <a:pt x="485895" y="180003"/>
                </a:cubicBezTo>
                <a:lnTo>
                  <a:pt x="461094" y="180003"/>
                </a:lnTo>
                <a:close/>
                <a:moveTo>
                  <a:pt x="192404" y="155698"/>
                </a:moveTo>
                <a:cubicBezTo>
                  <a:pt x="197761" y="155698"/>
                  <a:pt x="202671" y="159418"/>
                  <a:pt x="205449" y="167107"/>
                </a:cubicBezTo>
                <a:cubicBezTo>
                  <a:pt x="208421" y="177041"/>
                  <a:pt x="209729" y="187399"/>
                  <a:pt x="209318" y="197760"/>
                </a:cubicBezTo>
                <a:cubicBezTo>
                  <a:pt x="209641" y="208457"/>
                  <a:pt x="208113" y="219129"/>
                  <a:pt x="204804" y="229306"/>
                </a:cubicBezTo>
                <a:lnTo>
                  <a:pt x="204754" y="229108"/>
                </a:lnTo>
                <a:cubicBezTo>
                  <a:pt x="201878" y="236896"/>
                  <a:pt x="197810" y="240666"/>
                  <a:pt x="192354" y="240666"/>
                </a:cubicBezTo>
                <a:cubicBezTo>
                  <a:pt x="186898" y="240666"/>
                  <a:pt x="183178" y="236846"/>
                  <a:pt x="180301" y="228910"/>
                </a:cubicBezTo>
                <a:cubicBezTo>
                  <a:pt x="177053" y="218957"/>
                  <a:pt x="175527" y="208524"/>
                  <a:pt x="175787" y="198058"/>
                </a:cubicBezTo>
                <a:cubicBezTo>
                  <a:pt x="175460" y="187511"/>
                  <a:pt x="176971" y="176987"/>
                  <a:pt x="180251" y="166958"/>
                </a:cubicBezTo>
                <a:cubicBezTo>
                  <a:pt x="183079" y="159369"/>
                  <a:pt x="187047" y="155698"/>
                  <a:pt x="192404" y="155698"/>
                </a:cubicBezTo>
                <a:close/>
                <a:moveTo>
                  <a:pt x="440609" y="138536"/>
                </a:moveTo>
                <a:lnTo>
                  <a:pt x="436541" y="258919"/>
                </a:lnTo>
                <a:lnTo>
                  <a:pt x="458664" y="258919"/>
                </a:lnTo>
                <a:lnTo>
                  <a:pt x="460796" y="199993"/>
                </a:lnTo>
                <a:lnTo>
                  <a:pt x="488425" y="199993"/>
                </a:lnTo>
                <a:lnTo>
                  <a:pt x="494625" y="258720"/>
                </a:lnTo>
                <a:lnTo>
                  <a:pt x="516945" y="258720"/>
                </a:lnTo>
                <a:lnTo>
                  <a:pt x="506727" y="170777"/>
                </a:lnTo>
                <a:cubicBezTo>
                  <a:pt x="507512" y="161003"/>
                  <a:pt x="503587" y="151440"/>
                  <a:pt x="496162" y="145034"/>
                </a:cubicBezTo>
                <a:cubicBezTo>
                  <a:pt x="489526" y="140357"/>
                  <a:pt x="481501" y="138066"/>
                  <a:pt x="473395" y="138536"/>
                </a:cubicBezTo>
                <a:close/>
                <a:moveTo>
                  <a:pt x="352517" y="138536"/>
                </a:moveTo>
                <a:lnTo>
                  <a:pt x="352517" y="158377"/>
                </a:lnTo>
                <a:lnTo>
                  <a:pt x="370869" y="158377"/>
                </a:lnTo>
                <a:lnTo>
                  <a:pt x="371067" y="258770"/>
                </a:lnTo>
                <a:lnTo>
                  <a:pt x="393190" y="258770"/>
                </a:lnTo>
                <a:lnTo>
                  <a:pt x="393190" y="158377"/>
                </a:lnTo>
                <a:lnTo>
                  <a:pt x="411840" y="158377"/>
                </a:lnTo>
                <a:lnTo>
                  <a:pt x="411840" y="138536"/>
                </a:lnTo>
                <a:close/>
                <a:moveTo>
                  <a:pt x="256141" y="138536"/>
                </a:moveTo>
                <a:lnTo>
                  <a:pt x="256141" y="172761"/>
                </a:lnTo>
                <a:cubicBezTo>
                  <a:pt x="256081" y="180446"/>
                  <a:pt x="259511" y="187744"/>
                  <a:pt x="265466" y="192602"/>
                </a:cubicBezTo>
                <a:cubicBezTo>
                  <a:pt x="271657" y="197904"/>
                  <a:pt x="279589" y="200731"/>
                  <a:pt x="287737" y="200538"/>
                </a:cubicBezTo>
                <a:lnTo>
                  <a:pt x="303858" y="200637"/>
                </a:lnTo>
                <a:lnTo>
                  <a:pt x="303858" y="258770"/>
                </a:lnTo>
                <a:lnTo>
                  <a:pt x="325980" y="258770"/>
                </a:lnTo>
                <a:lnTo>
                  <a:pt x="325980" y="138536"/>
                </a:lnTo>
                <a:lnTo>
                  <a:pt x="303858" y="138536"/>
                </a:lnTo>
                <a:lnTo>
                  <a:pt x="303858" y="180449"/>
                </a:lnTo>
                <a:lnTo>
                  <a:pt x="291805" y="180449"/>
                </a:lnTo>
                <a:cubicBezTo>
                  <a:pt x="287838" y="180773"/>
                  <a:pt x="283898" y="179566"/>
                  <a:pt x="280793" y="177077"/>
                </a:cubicBezTo>
                <a:cubicBezTo>
                  <a:pt x="279054" y="175396"/>
                  <a:pt x="278131" y="173043"/>
                  <a:pt x="278263" y="170629"/>
                </a:cubicBezTo>
                <a:lnTo>
                  <a:pt x="278264" y="138536"/>
                </a:lnTo>
                <a:close/>
                <a:moveTo>
                  <a:pt x="52676" y="138536"/>
                </a:moveTo>
                <a:lnTo>
                  <a:pt x="52676" y="258919"/>
                </a:lnTo>
                <a:lnTo>
                  <a:pt x="74799" y="258919"/>
                </a:lnTo>
                <a:lnTo>
                  <a:pt x="74799" y="158377"/>
                </a:lnTo>
                <a:lnTo>
                  <a:pt x="101980" y="158377"/>
                </a:lnTo>
                <a:lnTo>
                  <a:pt x="101980" y="258720"/>
                </a:lnTo>
                <a:lnTo>
                  <a:pt x="124102" y="258720"/>
                </a:lnTo>
                <a:lnTo>
                  <a:pt x="124102" y="138536"/>
                </a:lnTo>
                <a:close/>
                <a:moveTo>
                  <a:pt x="192354" y="135114"/>
                </a:moveTo>
                <a:cubicBezTo>
                  <a:pt x="180470" y="135160"/>
                  <a:pt x="169652" y="141974"/>
                  <a:pt x="164478" y="152673"/>
                </a:cubicBezTo>
                <a:cubicBezTo>
                  <a:pt x="157317" y="166552"/>
                  <a:pt x="153897" y="182057"/>
                  <a:pt x="154558" y="197661"/>
                </a:cubicBezTo>
                <a:cubicBezTo>
                  <a:pt x="153838" y="213506"/>
                  <a:pt x="157094" y="229279"/>
                  <a:pt x="164032" y="243542"/>
                </a:cubicBezTo>
                <a:cubicBezTo>
                  <a:pt x="169242" y="254410"/>
                  <a:pt x="180304" y="261248"/>
                  <a:pt x="192354" y="261051"/>
                </a:cubicBezTo>
                <a:cubicBezTo>
                  <a:pt x="204885" y="261056"/>
                  <a:pt x="216329" y="253939"/>
                  <a:pt x="221867" y="242699"/>
                </a:cubicBezTo>
                <a:cubicBezTo>
                  <a:pt x="229053" y="228740"/>
                  <a:pt x="232472" y="213148"/>
                  <a:pt x="231787" y="197463"/>
                </a:cubicBezTo>
                <a:cubicBezTo>
                  <a:pt x="232469" y="181854"/>
                  <a:pt x="228939" y="166350"/>
                  <a:pt x="221569" y="152574"/>
                </a:cubicBezTo>
                <a:cubicBezTo>
                  <a:pt x="215885" y="141727"/>
                  <a:pt x="204599" y="134982"/>
                  <a:pt x="192354" y="135114"/>
                </a:cubicBezTo>
                <a:close/>
                <a:moveTo>
                  <a:pt x="22569" y="0"/>
                </a:moveTo>
                <a:lnTo>
                  <a:pt x="550377" y="0"/>
                </a:lnTo>
                <a:cubicBezTo>
                  <a:pt x="562841" y="0"/>
                  <a:pt x="572945" y="10104"/>
                  <a:pt x="572945" y="22569"/>
                </a:cubicBezTo>
                <a:lnTo>
                  <a:pt x="572945" y="550425"/>
                </a:lnTo>
                <a:cubicBezTo>
                  <a:pt x="572945" y="562890"/>
                  <a:pt x="562841" y="572994"/>
                  <a:pt x="550377" y="572994"/>
                </a:cubicBezTo>
                <a:lnTo>
                  <a:pt x="22569" y="572994"/>
                </a:lnTo>
                <a:cubicBezTo>
                  <a:pt x="10104" y="572994"/>
                  <a:pt x="0" y="562890"/>
                  <a:pt x="0" y="550425"/>
                </a:cubicBezTo>
                <a:lnTo>
                  <a:pt x="0" y="22569"/>
                </a:lnTo>
                <a:cubicBezTo>
                  <a:pt x="0" y="10104"/>
                  <a:pt x="10104" y="0"/>
                  <a:pt x="22569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10" name="Текст 8">
            <a:extLst>
              <a:ext uri="{FF2B5EF4-FFF2-40B4-BE49-F238E27FC236}">
                <a16:creationId xmlns="" xmlns:a16="http://schemas.microsoft.com/office/drawing/2014/main" id="{C98F9D43-7147-460C-BF49-EAC828FB7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06690099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смарт-устройст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7BDD1FD6-6AEA-4E32-9116-FB10716201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0920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5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E57B5CEF-548C-4FAE-8569-03D9B4D343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tx2"/>
              </a:gs>
              <a:gs pos="87000">
                <a:schemeClr val="tx2">
                  <a:lumMod val="75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Aft>
                <a:spcPts val="1200"/>
              </a:spcAft>
              <a:buFontTx/>
              <a:buNone/>
            </a:pPr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Рисунок 8" descr="Изображение выглядит как монитор, знак, сидит, фотография&#10;&#10;Автоматически созданное описание">
            <a:extLst>
              <a:ext uri="{FF2B5EF4-FFF2-40B4-BE49-F238E27FC236}">
                <a16:creationId xmlns="" xmlns:a16="http://schemas.microsoft.com/office/drawing/2014/main" id="{E184C1E0-C228-47A1-B2C9-CACF00D4B1F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8917" y="1259633"/>
            <a:ext cx="3517972" cy="5322692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296921"/>
            <a:ext cx="1015047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D4859CB2-E0D3-4A7A-88A1-051FFE61F85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Рисунок 36">
            <a:extLst>
              <a:ext uri="{FF2B5EF4-FFF2-40B4-BE49-F238E27FC236}">
                <a16:creationId xmlns="" xmlns:a16="http://schemas.microsoft.com/office/drawing/2014/main" id="{DF429F0B-816C-4B37-AC27-CAEFE6C873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3154" y="1407545"/>
            <a:ext cx="2233214" cy="4849619"/>
          </a:xfrm>
          <a:custGeom>
            <a:avLst/>
            <a:gdLst>
              <a:gd name="connsiteX0" fmla="*/ 343649 w 2466975"/>
              <a:gd name="connsiteY0" fmla="*/ 74045 h 5043488"/>
              <a:gd name="connsiteX1" fmla="*/ 115412 w 2466975"/>
              <a:gd name="connsiteY1" fmla="*/ 303563 h 5043488"/>
              <a:gd name="connsiteX2" fmla="*/ 115412 w 2466975"/>
              <a:gd name="connsiteY2" fmla="*/ 4694146 h 5043488"/>
              <a:gd name="connsiteX3" fmla="*/ 343649 w 2466975"/>
              <a:gd name="connsiteY3" fmla="*/ 4923664 h 5043488"/>
              <a:gd name="connsiteX4" fmla="*/ 2120389 w 2466975"/>
              <a:gd name="connsiteY4" fmla="*/ 4923664 h 5043488"/>
              <a:gd name="connsiteX5" fmla="*/ 2348626 w 2466975"/>
              <a:gd name="connsiteY5" fmla="*/ 4694146 h 5043488"/>
              <a:gd name="connsiteX6" fmla="*/ 2348626 w 2466975"/>
              <a:gd name="connsiteY6" fmla="*/ 303563 h 5043488"/>
              <a:gd name="connsiteX7" fmla="*/ 2120389 w 2466975"/>
              <a:gd name="connsiteY7" fmla="*/ 74045 h 5043488"/>
              <a:gd name="connsiteX8" fmla="*/ 1885484 w 2466975"/>
              <a:gd name="connsiteY8" fmla="*/ 74045 h 5043488"/>
              <a:gd name="connsiteX9" fmla="*/ 1853216 w 2466975"/>
              <a:gd name="connsiteY9" fmla="*/ 106493 h 5043488"/>
              <a:gd name="connsiteX10" fmla="*/ 1854507 w 2466975"/>
              <a:gd name="connsiteY10" fmla="*/ 123799 h 5043488"/>
              <a:gd name="connsiteX11" fmla="*/ 1724470 w 2466975"/>
              <a:gd name="connsiteY11" fmla="*/ 255215 h 5043488"/>
              <a:gd name="connsiteX12" fmla="*/ 740320 w 2466975"/>
              <a:gd name="connsiteY12" fmla="*/ 255215 h 5043488"/>
              <a:gd name="connsiteX13" fmla="*/ 609413 w 2466975"/>
              <a:gd name="connsiteY13" fmla="*/ 124894 h 5043488"/>
              <a:gd name="connsiteX14" fmla="*/ 610176 w 2466975"/>
              <a:gd name="connsiteY14" fmla="*/ 110063 h 5043488"/>
              <a:gd name="connsiteX15" fmla="*/ 610176 w 2466975"/>
              <a:gd name="connsiteY15" fmla="*/ 106493 h 5043488"/>
              <a:gd name="connsiteX16" fmla="*/ 577909 w 2466975"/>
              <a:gd name="connsiteY16" fmla="*/ 74045 h 5043488"/>
              <a:gd name="connsiteX17" fmla="*/ 0 w 2466975"/>
              <a:gd name="connsiteY17" fmla="*/ 0 h 5043488"/>
              <a:gd name="connsiteX18" fmla="*/ 2466975 w 2466975"/>
              <a:gd name="connsiteY18" fmla="*/ 0 h 5043488"/>
              <a:gd name="connsiteX19" fmla="*/ 2466975 w 2466975"/>
              <a:gd name="connsiteY19" fmla="*/ 5043488 h 5043488"/>
              <a:gd name="connsiteX20" fmla="*/ 0 w 2466975"/>
              <a:gd name="connsiteY20" fmla="*/ 5043488 h 5043488"/>
              <a:gd name="connsiteX0" fmla="*/ 438899 w 2562225"/>
              <a:gd name="connsiteY0" fmla="*/ 448695 h 5418138"/>
              <a:gd name="connsiteX1" fmla="*/ 210662 w 2562225"/>
              <a:gd name="connsiteY1" fmla="*/ 678213 h 5418138"/>
              <a:gd name="connsiteX2" fmla="*/ 210662 w 2562225"/>
              <a:gd name="connsiteY2" fmla="*/ 5068796 h 5418138"/>
              <a:gd name="connsiteX3" fmla="*/ 438899 w 2562225"/>
              <a:gd name="connsiteY3" fmla="*/ 5298314 h 5418138"/>
              <a:gd name="connsiteX4" fmla="*/ 2215639 w 2562225"/>
              <a:gd name="connsiteY4" fmla="*/ 5298314 h 5418138"/>
              <a:gd name="connsiteX5" fmla="*/ 2443876 w 2562225"/>
              <a:gd name="connsiteY5" fmla="*/ 5068796 h 5418138"/>
              <a:gd name="connsiteX6" fmla="*/ 2443876 w 2562225"/>
              <a:gd name="connsiteY6" fmla="*/ 678213 h 5418138"/>
              <a:gd name="connsiteX7" fmla="*/ 2215639 w 2562225"/>
              <a:gd name="connsiteY7" fmla="*/ 448695 h 5418138"/>
              <a:gd name="connsiteX8" fmla="*/ 1980734 w 2562225"/>
              <a:gd name="connsiteY8" fmla="*/ 448695 h 5418138"/>
              <a:gd name="connsiteX9" fmla="*/ 1948466 w 2562225"/>
              <a:gd name="connsiteY9" fmla="*/ 481143 h 5418138"/>
              <a:gd name="connsiteX10" fmla="*/ 1949757 w 2562225"/>
              <a:gd name="connsiteY10" fmla="*/ 498449 h 5418138"/>
              <a:gd name="connsiteX11" fmla="*/ 1819720 w 2562225"/>
              <a:gd name="connsiteY11" fmla="*/ 629865 h 5418138"/>
              <a:gd name="connsiteX12" fmla="*/ 835570 w 2562225"/>
              <a:gd name="connsiteY12" fmla="*/ 629865 h 5418138"/>
              <a:gd name="connsiteX13" fmla="*/ 704663 w 2562225"/>
              <a:gd name="connsiteY13" fmla="*/ 499544 h 5418138"/>
              <a:gd name="connsiteX14" fmla="*/ 705426 w 2562225"/>
              <a:gd name="connsiteY14" fmla="*/ 484713 h 5418138"/>
              <a:gd name="connsiteX15" fmla="*/ 705426 w 2562225"/>
              <a:gd name="connsiteY15" fmla="*/ 481143 h 5418138"/>
              <a:gd name="connsiteX16" fmla="*/ 673159 w 2562225"/>
              <a:gd name="connsiteY16" fmla="*/ 448695 h 5418138"/>
              <a:gd name="connsiteX17" fmla="*/ 438899 w 2562225"/>
              <a:gd name="connsiteY17" fmla="*/ 448695 h 5418138"/>
              <a:gd name="connsiteX18" fmla="*/ 0 w 2562225"/>
              <a:gd name="connsiteY18" fmla="*/ 0 h 5418138"/>
              <a:gd name="connsiteX19" fmla="*/ 2562225 w 2562225"/>
              <a:gd name="connsiteY19" fmla="*/ 374650 h 5418138"/>
              <a:gd name="connsiteX20" fmla="*/ 2562225 w 2562225"/>
              <a:gd name="connsiteY20" fmla="*/ 5418138 h 5418138"/>
              <a:gd name="connsiteX21" fmla="*/ 95250 w 2562225"/>
              <a:gd name="connsiteY21" fmla="*/ 5418138 h 5418138"/>
              <a:gd name="connsiteX22" fmla="*/ 0 w 2562225"/>
              <a:gd name="connsiteY22" fmla="*/ 0 h 5418138"/>
              <a:gd name="connsiteX0" fmla="*/ 343649 w 2466975"/>
              <a:gd name="connsiteY0" fmla="*/ 74045 h 5043488"/>
              <a:gd name="connsiteX1" fmla="*/ 115412 w 2466975"/>
              <a:gd name="connsiteY1" fmla="*/ 303563 h 5043488"/>
              <a:gd name="connsiteX2" fmla="*/ 115412 w 2466975"/>
              <a:gd name="connsiteY2" fmla="*/ 4694146 h 5043488"/>
              <a:gd name="connsiteX3" fmla="*/ 343649 w 2466975"/>
              <a:gd name="connsiteY3" fmla="*/ 4923664 h 5043488"/>
              <a:gd name="connsiteX4" fmla="*/ 2120389 w 2466975"/>
              <a:gd name="connsiteY4" fmla="*/ 4923664 h 5043488"/>
              <a:gd name="connsiteX5" fmla="*/ 2348626 w 2466975"/>
              <a:gd name="connsiteY5" fmla="*/ 4694146 h 5043488"/>
              <a:gd name="connsiteX6" fmla="*/ 2348626 w 2466975"/>
              <a:gd name="connsiteY6" fmla="*/ 303563 h 5043488"/>
              <a:gd name="connsiteX7" fmla="*/ 2120389 w 2466975"/>
              <a:gd name="connsiteY7" fmla="*/ 74045 h 5043488"/>
              <a:gd name="connsiteX8" fmla="*/ 1885484 w 2466975"/>
              <a:gd name="connsiteY8" fmla="*/ 74045 h 5043488"/>
              <a:gd name="connsiteX9" fmla="*/ 1853216 w 2466975"/>
              <a:gd name="connsiteY9" fmla="*/ 106493 h 5043488"/>
              <a:gd name="connsiteX10" fmla="*/ 1854507 w 2466975"/>
              <a:gd name="connsiteY10" fmla="*/ 123799 h 5043488"/>
              <a:gd name="connsiteX11" fmla="*/ 1724470 w 2466975"/>
              <a:gd name="connsiteY11" fmla="*/ 255215 h 5043488"/>
              <a:gd name="connsiteX12" fmla="*/ 740320 w 2466975"/>
              <a:gd name="connsiteY12" fmla="*/ 255215 h 5043488"/>
              <a:gd name="connsiteX13" fmla="*/ 609413 w 2466975"/>
              <a:gd name="connsiteY13" fmla="*/ 124894 h 5043488"/>
              <a:gd name="connsiteX14" fmla="*/ 610176 w 2466975"/>
              <a:gd name="connsiteY14" fmla="*/ 110063 h 5043488"/>
              <a:gd name="connsiteX15" fmla="*/ 610176 w 2466975"/>
              <a:gd name="connsiteY15" fmla="*/ 106493 h 5043488"/>
              <a:gd name="connsiteX16" fmla="*/ 577909 w 2466975"/>
              <a:gd name="connsiteY16" fmla="*/ 74045 h 5043488"/>
              <a:gd name="connsiteX17" fmla="*/ 343649 w 2466975"/>
              <a:gd name="connsiteY17" fmla="*/ 74045 h 5043488"/>
              <a:gd name="connsiteX18" fmla="*/ 0 w 2466975"/>
              <a:gd name="connsiteY18" fmla="*/ 5043488 h 5043488"/>
              <a:gd name="connsiteX19" fmla="*/ 2466975 w 2466975"/>
              <a:gd name="connsiteY19" fmla="*/ 0 h 5043488"/>
              <a:gd name="connsiteX20" fmla="*/ 2466975 w 2466975"/>
              <a:gd name="connsiteY20" fmla="*/ 5043488 h 5043488"/>
              <a:gd name="connsiteX21" fmla="*/ 0 w 2466975"/>
              <a:gd name="connsiteY21" fmla="*/ 5043488 h 5043488"/>
              <a:gd name="connsiteX0" fmla="*/ 343649 w 2466975"/>
              <a:gd name="connsiteY0" fmla="*/ 0 h 4969443"/>
              <a:gd name="connsiteX1" fmla="*/ 115412 w 2466975"/>
              <a:gd name="connsiteY1" fmla="*/ 229518 h 4969443"/>
              <a:gd name="connsiteX2" fmla="*/ 115412 w 2466975"/>
              <a:gd name="connsiteY2" fmla="*/ 4620101 h 4969443"/>
              <a:gd name="connsiteX3" fmla="*/ 343649 w 2466975"/>
              <a:gd name="connsiteY3" fmla="*/ 4849619 h 4969443"/>
              <a:gd name="connsiteX4" fmla="*/ 2120389 w 2466975"/>
              <a:gd name="connsiteY4" fmla="*/ 4849619 h 4969443"/>
              <a:gd name="connsiteX5" fmla="*/ 2348626 w 2466975"/>
              <a:gd name="connsiteY5" fmla="*/ 4620101 h 4969443"/>
              <a:gd name="connsiteX6" fmla="*/ 2348626 w 2466975"/>
              <a:gd name="connsiteY6" fmla="*/ 229518 h 4969443"/>
              <a:gd name="connsiteX7" fmla="*/ 2120389 w 2466975"/>
              <a:gd name="connsiteY7" fmla="*/ 0 h 4969443"/>
              <a:gd name="connsiteX8" fmla="*/ 1885484 w 2466975"/>
              <a:gd name="connsiteY8" fmla="*/ 0 h 4969443"/>
              <a:gd name="connsiteX9" fmla="*/ 1853216 w 2466975"/>
              <a:gd name="connsiteY9" fmla="*/ 32448 h 4969443"/>
              <a:gd name="connsiteX10" fmla="*/ 1854507 w 2466975"/>
              <a:gd name="connsiteY10" fmla="*/ 49754 h 4969443"/>
              <a:gd name="connsiteX11" fmla="*/ 1724470 w 2466975"/>
              <a:gd name="connsiteY11" fmla="*/ 181170 h 4969443"/>
              <a:gd name="connsiteX12" fmla="*/ 740320 w 2466975"/>
              <a:gd name="connsiteY12" fmla="*/ 181170 h 4969443"/>
              <a:gd name="connsiteX13" fmla="*/ 609413 w 2466975"/>
              <a:gd name="connsiteY13" fmla="*/ 50849 h 4969443"/>
              <a:gd name="connsiteX14" fmla="*/ 610176 w 2466975"/>
              <a:gd name="connsiteY14" fmla="*/ 36018 h 4969443"/>
              <a:gd name="connsiteX15" fmla="*/ 610176 w 2466975"/>
              <a:gd name="connsiteY15" fmla="*/ 32448 h 4969443"/>
              <a:gd name="connsiteX16" fmla="*/ 577909 w 2466975"/>
              <a:gd name="connsiteY16" fmla="*/ 0 h 4969443"/>
              <a:gd name="connsiteX17" fmla="*/ 343649 w 2466975"/>
              <a:gd name="connsiteY17" fmla="*/ 0 h 4969443"/>
              <a:gd name="connsiteX18" fmla="*/ 0 w 2466975"/>
              <a:gd name="connsiteY18" fmla="*/ 4969443 h 4969443"/>
              <a:gd name="connsiteX19" fmla="*/ 2466975 w 2466975"/>
              <a:gd name="connsiteY19" fmla="*/ 4969443 h 4969443"/>
              <a:gd name="connsiteX20" fmla="*/ 0 w 2466975"/>
              <a:gd name="connsiteY20" fmla="*/ 4969443 h 4969443"/>
              <a:gd name="connsiteX0" fmla="*/ 228237 w 2233214"/>
              <a:gd name="connsiteY0" fmla="*/ 0 h 4849619"/>
              <a:gd name="connsiteX1" fmla="*/ 0 w 2233214"/>
              <a:gd name="connsiteY1" fmla="*/ 229518 h 4849619"/>
              <a:gd name="connsiteX2" fmla="*/ 0 w 2233214"/>
              <a:gd name="connsiteY2" fmla="*/ 4620101 h 4849619"/>
              <a:gd name="connsiteX3" fmla="*/ 228237 w 2233214"/>
              <a:gd name="connsiteY3" fmla="*/ 4849619 h 4849619"/>
              <a:gd name="connsiteX4" fmla="*/ 2004977 w 2233214"/>
              <a:gd name="connsiteY4" fmla="*/ 4849619 h 4849619"/>
              <a:gd name="connsiteX5" fmla="*/ 2233214 w 2233214"/>
              <a:gd name="connsiteY5" fmla="*/ 4620101 h 4849619"/>
              <a:gd name="connsiteX6" fmla="*/ 2233214 w 2233214"/>
              <a:gd name="connsiteY6" fmla="*/ 229518 h 4849619"/>
              <a:gd name="connsiteX7" fmla="*/ 2004977 w 2233214"/>
              <a:gd name="connsiteY7" fmla="*/ 0 h 4849619"/>
              <a:gd name="connsiteX8" fmla="*/ 1770072 w 2233214"/>
              <a:gd name="connsiteY8" fmla="*/ 0 h 4849619"/>
              <a:gd name="connsiteX9" fmla="*/ 1737804 w 2233214"/>
              <a:gd name="connsiteY9" fmla="*/ 32448 h 4849619"/>
              <a:gd name="connsiteX10" fmla="*/ 1739095 w 2233214"/>
              <a:gd name="connsiteY10" fmla="*/ 49754 h 4849619"/>
              <a:gd name="connsiteX11" fmla="*/ 1609058 w 2233214"/>
              <a:gd name="connsiteY11" fmla="*/ 181170 h 4849619"/>
              <a:gd name="connsiteX12" fmla="*/ 624908 w 2233214"/>
              <a:gd name="connsiteY12" fmla="*/ 181170 h 4849619"/>
              <a:gd name="connsiteX13" fmla="*/ 494001 w 2233214"/>
              <a:gd name="connsiteY13" fmla="*/ 50849 h 4849619"/>
              <a:gd name="connsiteX14" fmla="*/ 494764 w 2233214"/>
              <a:gd name="connsiteY14" fmla="*/ 36018 h 4849619"/>
              <a:gd name="connsiteX15" fmla="*/ 494764 w 2233214"/>
              <a:gd name="connsiteY15" fmla="*/ 32448 h 4849619"/>
              <a:gd name="connsiteX16" fmla="*/ 462497 w 2233214"/>
              <a:gd name="connsiteY16" fmla="*/ 0 h 4849619"/>
              <a:gd name="connsiteX17" fmla="*/ 228237 w 2233214"/>
              <a:gd name="connsiteY17" fmla="*/ 0 h 4849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33214" h="4849619">
                <a:moveTo>
                  <a:pt x="228237" y="0"/>
                </a:moveTo>
                <a:cubicBezTo>
                  <a:pt x="102185" y="0"/>
                  <a:pt x="0" y="102759"/>
                  <a:pt x="0" y="229518"/>
                </a:cubicBezTo>
                <a:lnTo>
                  <a:pt x="0" y="4620101"/>
                </a:lnTo>
                <a:cubicBezTo>
                  <a:pt x="0" y="4746855"/>
                  <a:pt x="102185" y="4849619"/>
                  <a:pt x="228237" y="4849619"/>
                </a:cubicBezTo>
                <a:lnTo>
                  <a:pt x="2004977" y="4849619"/>
                </a:lnTo>
                <a:cubicBezTo>
                  <a:pt x="2131023" y="4849619"/>
                  <a:pt x="2233214" y="4746855"/>
                  <a:pt x="2233214" y="4620101"/>
                </a:cubicBezTo>
                <a:lnTo>
                  <a:pt x="2233214" y="229518"/>
                </a:lnTo>
                <a:cubicBezTo>
                  <a:pt x="2233214" y="102759"/>
                  <a:pt x="2131023" y="0"/>
                  <a:pt x="2004977" y="0"/>
                </a:cubicBezTo>
                <a:lnTo>
                  <a:pt x="1770072" y="0"/>
                </a:lnTo>
                <a:cubicBezTo>
                  <a:pt x="1752249" y="0"/>
                  <a:pt x="1737804" y="14528"/>
                  <a:pt x="1737804" y="32448"/>
                </a:cubicBezTo>
                <a:cubicBezTo>
                  <a:pt x="1738611" y="38182"/>
                  <a:pt x="1739041" y="43963"/>
                  <a:pt x="1739095" y="49754"/>
                </a:cubicBezTo>
                <a:cubicBezTo>
                  <a:pt x="1739278" y="122154"/>
                  <a:pt x="1681057" y="180990"/>
                  <a:pt x="1609058" y="181170"/>
                </a:cubicBezTo>
                <a:lnTo>
                  <a:pt x="624908" y="181170"/>
                </a:lnTo>
                <a:cubicBezTo>
                  <a:pt x="552973" y="181534"/>
                  <a:pt x="494364" y="123188"/>
                  <a:pt x="494001" y="50849"/>
                </a:cubicBezTo>
                <a:cubicBezTo>
                  <a:pt x="493977" y="45895"/>
                  <a:pt x="494230" y="40943"/>
                  <a:pt x="494764" y="36018"/>
                </a:cubicBezTo>
                <a:lnTo>
                  <a:pt x="494764" y="32448"/>
                </a:lnTo>
                <a:cubicBezTo>
                  <a:pt x="494764" y="14528"/>
                  <a:pt x="480318" y="0"/>
                  <a:pt x="462497" y="0"/>
                </a:cubicBezTo>
                <a:lnTo>
                  <a:pt x="228237" y="0"/>
                </a:lnTo>
                <a:close/>
              </a:path>
            </a:pathLst>
          </a:custGeom>
          <a:ln w="57150">
            <a:noFill/>
          </a:ln>
        </p:spPr>
        <p:txBody>
          <a:bodyPr anchor="ctr"/>
          <a:lstStyle>
            <a:lvl1pPr marL="0" indent="0" algn="ctr">
              <a:buNone/>
              <a:defRPr lang="ru-RU" sz="140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 dirty="0"/>
          </a:p>
        </p:txBody>
      </p:sp>
      <p:sp>
        <p:nvSpPr>
          <p:cNvPr id="10" name="Текст 26">
            <a:extLst>
              <a:ext uri="{FF2B5EF4-FFF2-40B4-BE49-F238E27FC236}">
                <a16:creationId xmlns="" xmlns:a16="http://schemas.microsoft.com/office/drawing/2014/main" id="{0961BC55-3BDB-4FEF-AD70-B8D103A5AE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94638" y="1589904"/>
            <a:ext cx="8146500" cy="482677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eiusmod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="" xmlns:a16="http://schemas.microsoft.com/office/drawing/2014/main" id="{FF1B7D51-593E-4D8C-8544-3498025674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94637" y="1278035"/>
            <a:ext cx="8146502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Добавьте подзаголовок</a:t>
            </a:r>
          </a:p>
        </p:txBody>
      </p:sp>
      <p:sp>
        <p:nvSpPr>
          <p:cNvPr id="12" name="Текст 8">
            <a:extLst>
              <a:ext uri="{FF2B5EF4-FFF2-40B4-BE49-F238E27FC236}">
                <a16:creationId xmlns="" xmlns:a16="http://schemas.microsoft.com/office/drawing/2014/main" id="{E752E47D-478A-4EA9-AB18-E1B53B9ABFE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735101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9991BEF6-A22A-4657-A9FB-5955A7EFE2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2437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00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54DBEEB9-F24C-4CB9-A8F8-6108D5B7678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081" y="0"/>
            <a:ext cx="10287919" cy="6858000"/>
          </a:xfrm>
          <a:prstGeom prst="rect">
            <a:avLst/>
          </a:prstGeom>
        </p:spPr>
      </p:pic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4" name="Текст 31">
            <a:extLst>
              <a:ext uri="{FF2B5EF4-FFF2-40B4-BE49-F238E27FC236}">
                <a16:creationId xmlns="" xmlns:a16="http://schemas.microsoft.com/office/drawing/2014/main" id="{F036B2D4-7BF4-427D-B575-3A205790E5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7663" y="1015999"/>
            <a:ext cx="2627391" cy="540067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ru-RU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Содержание приложения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B47FEF8B-3D9B-4BCF-9F40-7807BC8396F4}"/>
              </a:ext>
            </a:extLst>
          </p:cNvPr>
          <p:cNvSpPr/>
          <p:nvPr userDrawn="1"/>
        </p:nvSpPr>
        <p:spPr>
          <a:xfrm>
            <a:off x="0" y="0"/>
            <a:ext cx="1872762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144000" bIns="720000" rtlCol="0" anchor="b">
            <a:noAutofit/>
          </a:bodyPr>
          <a:lstStyle/>
          <a:p>
            <a:pPr algn="ctr">
              <a:buClr>
                <a:srgbClr val="1937FF"/>
              </a:buClr>
              <a:defRPr/>
            </a:pPr>
            <a:r>
              <a:rPr lang="ru-RU" sz="4800" b="1" spc="300" dirty="0">
                <a:solidFill>
                  <a:prstClr val="white"/>
                </a:solidFill>
              </a:rPr>
              <a:t>Приложение</a:t>
            </a:r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="" xmlns:a16="http://schemas.microsoft.com/office/drawing/2014/main" id="{6339D6A4-AEE1-4A17-9885-9F532CE63C25}"/>
              </a:ext>
            </a:extLst>
          </p:cNvPr>
          <p:cNvSpPr/>
          <p:nvPr userDrawn="1"/>
        </p:nvSpPr>
        <p:spPr>
          <a:xfrm>
            <a:off x="1151998" y="5514003"/>
            <a:ext cx="441353" cy="441390"/>
          </a:xfrm>
          <a:custGeom>
            <a:avLst/>
            <a:gdLst>
              <a:gd name="connsiteX0" fmla="*/ 72368 w 572945"/>
              <a:gd name="connsiteY0" fmla="*/ 331981 h 572994"/>
              <a:gd name="connsiteX1" fmla="*/ 73162 w 572945"/>
              <a:gd name="connsiteY1" fmla="*/ 331981 h 572994"/>
              <a:gd name="connsiteX2" fmla="*/ 83827 w 572945"/>
              <a:gd name="connsiteY2" fmla="*/ 339670 h 572994"/>
              <a:gd name="connsiteX3" fmla="*/ 87844 w 572945"/>
              <a:gd name="connsiteY3" fmla="*/ 365115 h 572994"/>
              <a:gd name="connsiteX4" fmla="*/ 85165 w 572945"/>
              <a:gd name="connsiteY4" fmla="*/ 379251 h 572994"/>
              <a:gd name="connsiteX5" fmla="*/ 79660 w 572945"/>
              <a:gd name="connsiteY5" fmla="*/ 383864 h 572994"/>
              <a:gd name="connsiteX6" fmla="*/ 74700 w 572945"/>
              <a:gd name="connsiteY6" fmla="*/ 379797 h 572994"/>
              <a:gd name="connsiteX7" fmla="*/ 72368 w 572945"/>
              <a:gd name="connsiteY7" fmla="*/ 367148 h 572994"/>
              <a:gd name="connsiteX8" fmla="*/ 155153 w 572945"/>
              <a:gd name="connsiteY8" fmla="*/ 330394 h 572994"/>
              <a:gd name="connsiteX9" fmla="*/ 167057 w 572945"/>
              <a:gd name="connsiteY9" fmla="*/ 342100 h 572994"/>
              <a:gd name="connsiteX10" fmla="*/ 170530 w 572945"/>
              <a:gd name="connsiteY10" fmla="*/ 372952 h 572994"/>
              <a:gd name="connsiteX11" fmla="*/ 166462 w 572945"/>
              <a:gd name="connsiteY11" fmla="*/ 404746 h 572994"/>
              <a:gd name="connsiteX12" fmla="*/ 155153 w 572945"/>
              <a:gd name="connsiteY12" fmla="*/ 416601 h 572994"/>
              <a:gd name="connsiteX13" fmla="*/ 144092 w 572945"/>
              <a:gd name="connsiteY13" fmla="*/ 404598 h 572994"/>
              <a:gd name="connsiteX14" fmla="*/ 140025 w 572945"/>
              <a:gd name="connsiteY14" fmla="*/ 373250 h 572994"/>
              <a:gd name="connsiteX15" fmla="*/ 144042 w 572945"/>
              <a:gd name="connsiteY15" fmla="*/ 341951 h 572994"/>
              <a:gd name="connsiteX16" fmla="*/ 155153 w 572945"/>
              <a:gd name="connsiteY16" fmla="*/ 330394 h 572994"/>
              <a:gd name="connsiteX17" fmla="*/ 52379 w 572945"/>
              <a:gd name="connsiteY17" fmla="*/ 314125 h 572994"/>
              <a:gd name="connsiteX18" fmla="*/ 52379 w 572945"/>
              <a:gd name="connsiteY18" fmla="*/ 433515 h 572994"/>
              <a:gd name="connsiteX19" fmla="*/ 72220 w 572945"/>
              <a:gd name="connsiteY19" fmla="*/ 433515 h 572994"/>
              <a:gd name="connsiteX20" fmla="*/ 72220 w 572945"/>
              <a:gd name="connsiteY20" fmla="*/ 398794 h 572994"/>
              <a:gd name="connsiteX21" fmla="*/ 97189 w 572945"/>
              <a:gd name="connsiteY21" fmla="*/ 399149 h 572994"/>
              <a:gd name="connsiteX22" fmla="*/ 100939 w 572945"/>
              <a:gd name="connsiteY22" fmla="*/ 393834 h 572994"/>
              <a:gd name="connsiteX23" fmla="*/ 108032 w 572945"/>
              <a:gd name="connsiteY23" fmla="*/ 360105 h 572994"/>
              <a:gd name="connsiteX24" fmla="*/ 102328 w 572945"/>
              <a:gd name="connsiteY24" fmla="*/ 332824 h 572994"/>
              <a:gd name="connsiteX25" fmla="*/ 73063 w 572945"/>
              <a:gd name="connsiteY25" fmla="*/ 314125 h 572994"/>
              <a:gd name="connsiteX26" fmla="*/ 338331 w 572945"/>
              <a:gd name="connsiteY26" fmla="*/ 311049 h 572994"/>
              <a:gd name="connsiteX27" fmla="*/ 293689 w 572945"/>
              <a:gd name="connsiteY27" fmla="*/ 329154 h 572994"/>
              <a:gd name="connsiteX28" fmla="*/ 279752 w 572945"/>
              <a:gd name="connsiteY28" fmla="*/ 374192 h 572994"/>
              <a:gd name="connsiteX29" fmla="*/ 294880 w 572945"/>
              <a:gd name="connsiteY29" fmla="*/ 419081 h 572994"/>
              <a:gd name="connsiteX30" fmla="*/ 338678 w 572945"/>
              <a:gd name="connsiteY30" fmla="*/ 437185 h 572994"/>
              <a:gd name="connsiteX31" fmla="*/ 339621 w 572945"/>
              <a:gd name="connsiteY31" fmla="*/ 437185 h 572994"/>
              <a:gd name="connsiteX32" fmla="*/ 339621 w 572945"/>
              <a:gd name="connsiteY32" fmla="*/ 416303 h 572994"/>
              <a:gd name="connsiteX33" fmla="*/ 338678 w 572945"/>
              <a:gd name="connsiteY33" fmla="*/ 416303 h 572994"/>
              <a:gd name="connsiteX34" fmla="*/ 309860 w 572945"/>
              <a:gd name="connsiteY34" fmla="*/ 404002 h 572994"/>
              <a:gd name="connsiteX35" fmla="*/ 310108 w 572945"/>
              <a:gd name="connsiteY35" fmla="*/ 404002 h 572994"/>
              <a:gd name="connsiteX36" fmla="*/ 309661 w 572945"/>
              <a:gd name="connsiteY36" fmla="*/ 344084 h 572994"/>
              <a:gd name="connsiteX37" fmla="*/ 338331 w 572945"/>
              <a:gd name="connsiteY37" fmla="*/ 331932 h 572994"/>
              <a:gd name="connsiteX38" fmla="*/ 339273 w 572945"/>
              <a:gd name="connsiteY38" fmla="*/ 331932 h 572994"/>
              <a:gd name="connsiteX39" fmla="*/ 339273 w 572945"/>
              <a:gd name="connsiteY39" fmla="*/ 311049 h 572994"/>
              <a:gd name="connsiteX40" fmla="*/ 263929 w 572945"/>
              <a:gd name="connsiteY40" fmla="*/ 311049 h 572994"/>
              <a:gd name="connsiteX41" fmla="*/ 219287 w 572945"/>
              <a:gd name="connsiteY41" fmla="*/ 329154 h 572994"/>
              <a:gd name="connsiteX42" fmla="*/ 205350 w 572945"/>
              <a:gd name="connsiteY42" fmla="*/ 374192 h 572994"/>
              <a:gd name="connsiteX43" fmla="*/ 220478 w 572945"/>
              <a:gd name="connsiteY43" fmla="*/ 419081 h 572994"/>
              <a:gd name="connsiteX44" fmla="*/ 264276 w 572945"/>
              <a:gd name="connsiteY44" fmla="*/ 437185 h 572994"/>
              <a:gd name="connsiteX45" fmla="*/ 265218 w 572945"/>
              <a:gd name="connsiteY45" fmla="*/ 437185 h 572994"/>
              <a:gd name="connsiteX46" fmla="*/ 265218 w 572945"/>
              <a:gd name="connsiteY46" fmla="*/ 416303 h 572994"/>
              <a:gd name="connsiteX47" fmla="*/ 264276 w 572945"/>
              <a:gd name="connsiteY47" fmla="*/ 416303 h 572994"/>
              <a:gd name="connsiteX48" fmla="*/ 235904 w 572945"/>
              <a:gd name="connsiteY48" fmla="*/ 404002 h 572994"/>
              <a:gd name="connsiteX49" fmla="*/ 235706 w 572945"/>
              <a:gd name="connsiteY49" fmla="*/ 404002 h 572994"/>
              <a:gd name="connsiteX50" fmla="*/ 235259 w 572945"/>
              <a:gd name="connsiteY50" fmla="*/ 344084 h 572994"/>
              <a:gd name="connsiteX51" fmla="*/ 263929 w 572945"/>
              <a:gd name="connsiteY51" fmla="*/ 331932 h 572994"/>
              <a:gd name="connsiteX52" fmla="*/ 264871 w 572945"/>
              <a:gd name="connsiteY52" fmla="*/ 331932 h 572994"/>
              <a:gd name="connsiteX53" fmla="*/ 264871 w 572945"/>
              <a:gd name="connsiteY53" fmla="*/ 311049 h 572994"/>
              <a:gd name="connsiteX54" fmla="*/ 155104 w 572945"/>
              <a:gd name="connsiteY54" fmla="*/ 311049 h 572994"/>
              <a:gd name="connsiteX55" fmla="*/ 130303 w 572945"/>
              <a:gd name="connsiteY55" fmla="*/ 328410 h 572994"/>
              <a:gd name="connsiteX56" fmla="*/ 121474 w 572945"/>
              <a:gd name="connsiteY56" fmla="*/ 373051 h 572994"/>
              <a:gd name="connsiteX57" fmla="*/ 129906 w 572945"/>
              <a:gd name="connsiteY57" fmla="*/ 418635 h 572994"/>
              <a:gd name="connsiteX58" fmla="*/ 155054 w 572945"/>
              <a:gd name="connsiteY58" fmla="*/ 435896 h 572994"/>
              <a:gd name="connsiteX59" fmla="*/ 181293 w 572945"/>
              <a:gd name="connsiteY59" fmla="*/ 417791 h 572994"/>
              <a:gd name="connsiteX60" fmla="*/ 190122 w 572945"/>
              <a:gd name="connsiteY60" fmla="*/ 372853 h 572994"/>
              <a:gd name="connsiteX61" fmla="*/ 181006 w 572945"/>
              <a:gd name="connsiteY61" fmla="*/ 328265 h 572994"/>
              <a:gd name="connsiteX62" fmla="*/ 181045 w 572945"/>
              <a:gd name="connsiteY62" fmla="*/ 328311 h 572994"/>
              <a:gd name="connsiteX63" fmla="*/ 180995 w 572945"/>
              <a:gd name="connsiteY63" fmla="*/ 328212 h 572994"/>
              <a:gd name="connsiteX64" fmla="*/ 181006 w 572945"/>
              <a:gd name="connsiteY64" fmla="*/ 328265 h 572994"/>
              <a:gd name="connsiteX65" fmla="*/ 169916 w 572945"/>
              <a:gd name="connsiteY65" fmla="*/ 315383 h 572994"/>
              <a:gd name="connsiteX66" fmla="*/ 155104 w 572945"/>
              <a:gd name="connsiteY66" fmla="*/ 311049 h 572994"/>
              <a:gd name="connsiteX67" fmla="*/ 515953 w 572945"/>
              <a:gd name="connsiteY67" fmla="*/ 308371 h 572994"/>
              <a:gd name="connsiteX68" fmla="*/ 514416 w 572945"/>
              <a:gd name="connsiteY68" fmla="*/ 310008 h 572994"/>
              <a:gd name="connsiteX69" fmla="*/ 470171 w 572945"/>
              <a:gd name="connsiteY69" fmla="*/ 356236 h 572994"/>
              <a:gd name="connsiteX70" fmla="*/ 470171 w 572945"/>
              <a:gd name="connsiteY70" fmla="*/ 314125 h 572994"/>
              <a:gd name="connsiteX71" fmla="*/ 450826 w 572945"/>
              <a:gd name="connsiteY71" fmla="*/ 314125 h 572994"/>
              <a:gd name="connsiteX72" fmla="*/ 450826 w 572945"/>
              <a:gd name="connsiteY72" fmla="*/ 433813 h 572994"/>
              <a:gd name="connsiteX73" fmla="*/ 470171 w 572945"/>
              <a:gd name="connsiteY73" fmla="*/ 433813 h 572994"/>
              <a:gd name="connsiteX74" fmla="*/ 470171 w 572945"/>
              <a:gd name="connsiteY74" fmla="*/ 384658 h 572994"/>
              <a:gd name="connsiteX75" fmla="*/ 498245 w 572945"/>
              <a:gd name="connsiteY75" fmla="*/ 354897 h 572994"/>
              <a:gd name="connsiteX76" fmla="*/ 501073 w 572945"/>
              <a:gd name="connsiteY76" fmla="*/ 433763 h 572994"/>
              <a:gd name="connsiteX77" fmla="*/ 520914 w 572945"/>
              <a:gd name="connsiteY77" fmla="*/ 433763 h 572994"/>
              <a:gd name="connsiteX78" fmla="*/ 423595 w 572945"/>
              <a:gd name="connsiteY78" fmla="*/ 308173 h 572994"/>
              <a:gd name="connsiteX79" fmla="*/ 422058 w 572945"/>
              <a:gd name="connsiteY79" fmla="*/ 309809 h 572994"/>
              <a:gd name="connsiteX80" fmla="*/ 377813 w 572945"/>
              <a:gd name="connsiteY80" fmla="*/ 356038 h 572994"/>
              <a:gd name="connsiteX81" fmla="*/ 377813 w 572945"/>
              <a:gd name="connsiteY81" fmla="*/ 313926 h 572994"/>
              <a:gd name="connsiteX82" fmla="*/ 358469 w 572945"/>
              <a:gd name="connsiteY82" fmla="*/ 313926 h 572994"/>
              <a:gd name="connsiteX83" fmla="*/ 358469 w 572945"/>
              <a:gd name="connsiteY83" fmla="*/ 433614 h 572994"/>
              <a:gd name="connsiteX84" fmla="*/ 377813 w 572945"/>
              <a:gd name="connsiteY84" fmla="*/ 433614 h 572994"/>
              <a:gd name="connsiteX85" fmla="*/ 377813 w 572945"/>
              <a:gd name="connsiteY85" fmla="*/ 384459 h 572994"/>
              <a:gd name="connsiteX86" fmla="*/ 405888 w 572945"/>
              <a:gd name="connsiteY86" fmla="*/ 354698 h 572994"/>
              <a:gd name="connsiteX87" fmla="*/ 408715 w 572945"/>
              <a:gd name="connsiteY87" fmla="*/ 433565 h 572994"/>
              <a:gd name="connsiteX88" fmla="*/ 428556 w 572945"/>
              <a:gd name="connsiteY88" fmla="*/ 433565 h 572994"/>
              <a:gd name="connsiteX89" fmla="*/ 461739 w 572945"/>
              <a:gd name="connsiteY89" fmla="*/ 158377 h 572994"/>
              <a:gd name="connsiteX90" fmla="*/ 469774 w 572945"/>
              <a:gd name="connsiteY90" fmla="*/ 158377 h 572994"/>
              <a:gd name="connsiteX91" fmla="*/ 481778 w 572945"/>
              <a:gd name="connsiteY91" fmla="*/ 163634 h 572994"/>
              <a:gd name="connsiteX92" fmla="*/ 485895 w 572945"/>
              <a:gd name="connsiteY92" fmla="*/ 180003 h 572994"/>
              <a:gd name="connsiteX93" fmla="*/ 461094 w 572945"/>
              <a:gd name="connsiteY93" fmla="*/ 180003 h 572994"/>
              <a:gd name="connsiteX94" fmla="*/ 192404 w 572945"/>
              <a:gd name="connsiteY94" fmla="*/ 155698 h 572994"/>
              <a:gd name="connsiteX95" fmla="*/ 205449 w 572945"/>
              <a:gd name="connsiteY95" fmla="*/ 167107 h 572994"/>
              <a:gd name="connsiteX96" fmla="*/ 209318 w 572945"/>
              <a:gd name="connsiteY96" fmla="*/ 197760 h 572994"/>
              <a:gd name="connsiteX97" fmla="*/ 204804 w 572945"/>
              <a:gd name="connsiteY97" fmla="*/ 229306 h 572994"/>
              <a:gd name="connsiteX98" fmla="*/ 204754 w 572945"/>
              <a:gd name="connsiteY98" fmla="*/ 229108 h 572994"/>
              <a:gd name="connsiteX99" fmla="*/ 192354 w 572945"/>
              <a:gd name="connsiteY99" fmla="*/ 240666 h 572994"/>
              <a:gd name="connsiteX100" fmla="*/ 180301 w 572945"/>
              <a:gd name="connsiteY100" fmla="*/ 228910 h 572994"/>
              <a:gd name="connsiteX101" fmla="*/ 175787 w 572945"/>
              <a:gd name="connsiteY101" fmla="*/ 198058 h 572994"/>
              <a:gd name="connsiteX102" fmla="*/ 180251 w 572945"/>
              <a:gd name="connsiteY102" fmla="*/ 166958 h 572994"/>
              <a:gd name="connsiteX103" fmla="*/ 192404 w 572945"/>
              <a:gd name="connsiteY103" fmla="*/ 155698 h 572994"/>
              <a:gd name="connsiteX104" fmla="*/ 440609 w 572945"/>
              <a:gd name="connsiteY104" fmla="*/ 138536 h 572994"/>
              <a:gd name="connsiteX105" fmla="*/ 436541 w 572945"/>
              <a:gd name="connsiteY105" fmla="*/ 258919 h 572994"/>
              <a:gd name="connsiteX106" fmla="*/ 458664 w 572945"/>
              <a:gd name="connsiteY106" fmla="*/ 258919 h 572994"/>
              <a:gd name="connsiteX107" fmla="*/ 460796 w 572945"/>
              <a:gd name="connsiteY107" fmla="*/ 199993 h 572994"/>
              <a:gd name="connsiteX108" fmla="*/ 488425 w 572945"/>
              <a:gd name="connsiteY108" fmla="*/ 199993 h 572994"/>
              <a:gd name="connsiteX109" fmla="*/ 494625 w 572945"/>
              <a:gd name="connsiteY109" fmla="*/ 258720 h 572994"/>
              <a:gd name="connsiteX110" fmla="*/ 516945 w 572945"/>
              <a:gd name="connsiteY110" fmla="*/ 258720 h 572994"/>
              <a:gd name="connsiteX111" fmla="*/ 506727 w 572945"/>
              <a:gd name="connsiteY111" fmla="*/ 170777 h 572994"/>
              <a:gd name="connsiteX112" fmla="*/ 496162 w 572945"/>
              <a:gd name="connsiteY112" fmla="*/ 145034 h 572994"/>
              <a:gd name="connsiteX113" fmla="*/ 473395 w 572945"/>
              <a:gd name="connsiteY113" fmla="*/ 138536 h 572994"/>
              <a:gd name="connsiteX114" fmla="*/ 352517 w 572945"/>
              <a:gd name="connsiteY114" fmla="*/ 138536 h 572994"/>
              <a:gd name="connsiteX115" fmla="*/ 352517 w 572945"/>
              <a:gd name="connsiteY115" fmla="*/ 158377 h 572994"/>
              <a:gd name="connsiteX116" fmla="*/ 370869 w 572945"/>
              <a:gd name="connsiteY116" fmla="*/ 158377 h 572994"/>
              <a:gd name="connsiteX117" fmla="*/ 371067 w 572945"/>
              <a:gd name="connsiteY117" fmla="*/ 258770 h 572994"/>
              <a:gd name="connsiteX118" fmla="*/ 393190 w 572945"/>
              <a:gd name="connsiteY118" fmla="*/ 258770 h 572994"/>
              <a:gd name="connsiteX119" fmla="*/ 393190 w 572945"/>
              <a:gd name="connsiteY119" fmla="*/ 158377 h 572994"/>
              <a:gd name="connsiteX120" fmla="*/ 411840 w 572945"/>
              <a:gd name="connsiteY120" fmla="*/ 158377 h 572994"/>
              <a:gd name="connsiteX121" fmla="*/ 411840 w 572945"/>
              <a:gd name="connsiteY121" fmla="*/ 138536 h 572994"/>
              <a:gd name="connsiteX122" fmla="*/ 256141 w 572945"/>
              <a:gd name="connsiteY122" fmla="*/ 138536 h 572994"/>
              <a:gd name="connsiteX123" fmla="*/ 256141 w 572945"/>
              <a:gd name="connsiteY123" fmla="*/ 172761 h 572994"/>
              <a:gd name="connsiteX124" fmla="*/ 265466 w 572945"/>
              <a:gd name="connsiteY124" fmla="*/ 192602 h 572994"/>
              <a:gd name="connsiteX125" fmla="*/ 287737 w 572945"/>
              <a:gd name="connsiteY125" fmla="*/ 200538 h 572994"/>
              <a:gd name="connsiteX126" fmla="*/ 303858 w 572945"/>
              <a:gd name="connsiteY126" fmla="*/ 200637 h 572994"/>
              <a:gd name="connsiteX127" fmla="*/ 303858 w 572945"/>
              <a:gd name="connsiteY127" fmla="*/ 258770 h 572994"/>
              <a:gd name="connsiteX128" fmla="*/ 325980 w 572945"/>
              <a:gd name="connsiteY128" fmla="*/ 258770 h 572994"/>
              <a:gd name="connsiteX129" fmla="*/ 325980 w 572945"/>
              <a:gd name="connsiteY129" fmla="*/ 138536 h 572994"/>
              <a:gd name="connsiteX130" fmla="*/ 303858 w 572945"/>
              <a:gd name="connsiteY130" fmla="*/ 138536 h 572994"/>
              <a:gd name="connsiteX131" fmla="*/ 303858 w 572945"/>
              <a:gd name="connsiteY131" fmla="*/ 180449 h 572994"/>
              <a:gd name="connsiteX132" fmla="*/ 291805 w 572945"/>
              <a:gd name="connsiteY132" fmla="*/ 180449 h 572994"/>
              <a:gd name="connsiteX133" fmla="*/ 280793 w 572945"/>
              <a:gd name="connsiteY133" fmla="*/ 177077 h 572994"/>
              <a:gd name="connsiteX134" fmla="*/ 278263 w 572945"/>
              <a:gd name="connsiteY134" fmla="*/ 170629 h 572994"/>
              <a:gd name="connsiteX135" fmla="*/ 278264 w 572945"/>
              <a:gd name="connsiteY135" fmla="*/ 138536 h 572994"/>
              <a:gd name="connsiteX136" fmla="*/ 52676 w 572945"/>
              <a:gd name="connsiteY136" fmla="*/ 138536 h 572994"/>
              <a:gd name="connsiteX137" fmla="*/ 52676 w 572945"/>
              <a:gd name="connsiteY137" fmla="*/ 258919 h 572994"/>
              <a:gd name="connsiteX138" fmla="*/ 74799 w 572945"/>
              <a:gd name="connsiteY138" fmla="*/ 258919 h 572994"/>
              <a:gd name="connsiteX139" fmla="*/ 74799 w 572945"/>
              <a:gd name="connsiteY139" fmla="*/ 158377 h 572994"/>
              <a:gd name="connsiteX140" fmla="*/ 101980 w 572945"/>
              <a:gd name="connsiteY140" fmla="*/ 158377 h 572994"/>
              <a:gd name="connsiteX141" fmla="*/ 101980 w 572945"/>
              <a:gd name="connsiteY141" fmla="*/ 258720 h 572994"/>
              <a:gd name="connsiteX142" fmla="*/ 124102 w 572945"/>
              <a:gd name="connsiteY142" fmla="*/ 258720 h 572994"/>
              <a:gd name="connsiteX143" fmla="*/ 124102 w 572945"/>
              <a:gd name="connsiteY143" fmla="*/ 138536 h 572994"/>
              <a:gd name="connsiteX144" fmla="*/ 192354 w 572945"/>
              <a:gd name="connsiteY144" fmla="*/ 135114 h 572994"/>
              <a:gd name="connsiteX145" fmla="*/ 164478 w 572945"/>
              <a:gd name="connsiteY145" fmla="*/ 152673 h 572994"/>
              <a:gd name="connsiteX146" fmla="*/ 154558 w 572945"/>
              <a:gd name="connsiteY146" fmla="*/ 197661 h 572994"/>
              <a:gd name="connsiteX147" fmla="*/ 164032 w 572945"/>
              <a:gd name="connsiteY147" fmla="*/ 243542 h 572994"/>
              <a:gd name="connsiteX148" fmla="*/ 192354 w 572945"/>
              <a:gd name="connsiteY148" fmla="*/ 261051 h 572994"/>
              <a:gd name="connsiteX149" fmla="*/ 221867 w 572945"/>
              <a:gd name="connsiteY149" fmla="*/ 242699 h 572994"/>
              <a:gd name="connsiteX150" fmla="*/ 231787 w 572945"/>
              <a:gd name="connsiteY150" fmla="*/ 197463 h 572994"/>
              <a:gd name="connsiteX151" fmla="*/ 221569 w 572945"/>
              <a:gd name="connsiteY151" fmla="*/ 152574 h 572994"/>
              <a:gd name="connsiteX152" fmla="*/ 192354 w 572945"/>
              <a:gd name="connsiteY152" fmla="*/ 135114 h 572994"/>
              <a:gd name="connsiteX153" fmla="*/ 22569 w 572945"/>
              <a:gd name="connsiteY153" fmla="*/ 0 h 572994"/>
              <a:gd name="connsiteX154" fmla="*/ 550377 w 572945"/>
              <a:gd name="connsiteY154" fmla="*/ 0 h 572994"/>
              <a:gd name="connsiteX155" fmla="*/ 572945 w 572945"/>
              <a:gd name="connsiteY155" fmla="*/ 22569 h 572994"/>
              <a:gd name="connsiteX156" fmla="*/ 572945 w 572945"/>
              <a:gd name="connsiteY156" fmla="*/ 550425 h 572994"/>
              <a:gd name="connsiteX157" fmla="*/ 550377 w 572945"/>
              <a:gd name="connsiteY157" fmla="*/ 572994 h 572994"/>
              <a:gd name="connsiteX158" fmla="*/ 22569 w 572945"/>
              <a:gd name="connsiteY158" fmla="*/ 572994 h 572994"/>
              <a:gd name="connsiteX159" fmla="*/ 0 w 572945"/>
              <a:gd name="connsiteY159" fmla="*/ 550425 h 572994"/>
              <a:gd name="connsiteX160" fmla="*/ 0 w 572945"/>
              <a:gd name="connsiteY160" fmla="*/ 22569 h 572994"/>
              <a:gd name="connsiteX161" fmla="*/ 22569 w 572945"/>
              <a:gd name="connsiteY161" fmla="*/ 0 h 572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572945" h="572994">
                <a:moveTo>
                  <a:pt x="72368" y="331981"/>
                </a:moveTo>
                <a:lnTo>
                  <a:pt x="73162" y="331981"/>
                </a:lnTo>
                <a:cubicBezTo>
                  <a:pt x="77956" y="332117"/>
                  <a:pt x="82182" y="335164"/>
                  <a:pt x="83827" y="339670"/>
                </a:cubicBezTo>
                <a:cubicBezTo>
                  <a:pt x="86987" y="347762"/>
                  <a:pt x="88358" y="356442"/>
                  <a:pt x="87844" y="365115"/>
                </a:cubicBezTo>
                <a:cubicBezTo>
                  <a:pt x="88047" y="369970"/>
                  <a:pt x="87130" y="374807"/>
                  <a:pt x="85165" y="379251"/>
                </a:cubicBezTo>
                <a:cubicBezTo>
                  <a:pt x="83578" y="382327"/>
                  <a:pt x="81743" y="383864"/>
                  <a:pt x="79660" y="383864"/>
                </a:cubicBezTo>
                <a:cubicBezTo>
                  <a:pt x="77576" y="383864"/>
                  <a:pt x="75989" y="382525"/>
                  <a:pt x="74700" y="379797"/>
                </a:cubicBezTo>
                <a:cubicBezTo>
                  <a:pt x="72940" y="375823"/>
                  <a:pt x="72141" y="371489"/>
                  <a:pt x="72368" y="367148"/>
                </a:cubicBezTo>
                <a:close/>
                <a:moveTo>
                  <a:pt x="155153" y="330394"/>
                </a:moveTo>
                <a:cubicBezTo>
                  <a:pt x="159964" y="330394"/>
                  <a:pt x="164527" y="334213"/>
                  <a:pt x="167057" y="342100"/>
                </a:cubicBezTo>
                <a:cubicBezTo>
                  <a:pt x="169731" y="352156"/>
                  <a:pt x="170901" y="362553"/>
                  <a:pt x="170530" y="372952"/>
                </a:cubicBezTo>
                <a:cubicBezTo>
                  <a:pt x="170822" y="383696"/>
                  <a:pt x="169450" y="394422"/>
                  <a:pt x="166462" y="404746"/>
                </a:cubicBezTo>
                <a:cubicBezTo>
                  <a:pt x="163883" y="412633"/>
                  <a:pt x="160064" y="416601"/>
                  <a:pt x="155153" y="416601"/>
                </a:cubicBezTo>
                <a:cubicBezTo>
                  <a:pt x="150242" y="416601"/>
                  <a:pt x="146720" y="412534"/>
                  <a:pt x="144092" y="404598"/>
                </a:cubicBezTo>
                <a:cubicBezTo>
                  <a:pt x="141132" y="394419"/>
                  <a:pt x="139760" y="383846"/>
                  <a:pt x="140025" y="373250"/>
                </a:cubicBezTo>
                <a:cubicBezTo>
                  <a:pt x="139730" y="362672"/>
                  <a:pt x="141085" y="352112"/>
                  <a:pt x="144042" y="341951"/>
                </a:cubicBezTo>
                <a:cubicBezTo>
                  <a:pt x="146572" y="334313"/>
                  <a:pt x="150342" y="330394"/>
                  <a:pt x="155153" y="330394"/>
                </a:cubicBezTo>
                <a:close/>
                <a:moveTo>
                  <a:pt x="52379" y="314125"/>
                </a:moveTo>
                <a:lnTo>
                  <a:pt x="52379" y="433515"/>
                </a:lnTo>
                <a:lnTo>
                  <a:pt x="72220" y="433515"/>
                </a:lnTo>
                <a:lnTo>
                  <a:pt x="72220" y="398794"/>
                </a:lnTo>
                <a:cubicBezTo>
                  <a:pt x="79017" y="405787"/>
                  <a:pt x="90196" y="405946"/>
                  <a:pt x="97189" y="399149"/>
                </a:cubicBezTo>
                <a:cubicBezTo>
                  <a:pt x="98757" y="397625"/>
                  <a:pt x="100029" y="395822"/>
                  <a:pt x="100939" y="393834"/>
                </a:cubicBezTo>
                <a:cubicBezTo>
                  <a:pt x="106271" y="383425"/>
                  <a:pt x="108720" y="371779"/>
                  <a:pt x="108032" y="360105"/>
                </a:cubicBezTo>
                <a:cubicBezTo>
                  <a:pt x="108206" y="350699"/>
                  <a:pt x="106257" y="341374"/>
                  <a:pt x="102328" y="332824"/>
                </a:cubicBezTo>
                <a:cubicBezTo>
                  <a:pt x="97442" y="321085"/>
                  <a:pt x="85768" y="313626"/>
                  <a:pt x="73063" y="314125"/>
                </a:cubicBezTo>
                <a:close/>
                <a:moveTo>
                  <a:pt x="338331" y="311049"/>
                </a:moveTo>
                <a:cubicBezTo>
                  <a:pt x="318837" y="311049"/>
                  <a:pt x="303610" y="317150"/>
                  <a:pt x="293689" y="329154"/>
                </a:cubicBezTo>
                <a:cubicBezTo>
                  <a:pt x="284464" y="340016"/>
                  <a:pt x="279752" y="355195"/>
                  <a:pt x="279752" y="374192"/>
                </a:cubicBezTo>
                <a:cubicBezTo>
                  <a:pt x="279044" y="390514"/>
                  <a:pt x="284437" y="406516"/>
                  <a:pt x="294880" y="419081"/>
                </a:cubicBezTo>
                <a:cubicBezTo>
                  <a:pt x="306039" y="431359"/>
                  <a:pt x="322107" y="438000"/>
                  <a:pt x="338678" y="437185"/>
                </a:cubicBezTo>
                <a:lnTo>
                  <a:pt x="339621" y="437185"/>
                </a:lnTo>
                <a:lnTo>
                  <a:pt x="339621" y="416303"/>
                </a:lnTo>
                <a:lnTo>
                  <a:pt x="338678" y="416303"/>
                </a:lnTo>
                <a:cubicBezTo>
                  <a:pt x="327672" y="416961"/>
                  <a:pt x="316998" y="412405"/>
                  <a:pt x="309860" y="404002"/>
                </a:cubicBezTo>
                <a:lnTo>
                  <a:pt x="310108" y="404002"/>
                </a:lnTo>
                <a:cubicBezTo>
                  <a:pt x="297620" y="386032"/>
                  <a:pt x="297443" y="362239"/>
                  <a:pt x="309661" y="344084"/>
                </a:cubicBezTo>
                <a:cubicBezTo>
                  <a:pt x="316764" y="335735"/>
                  <a:pt x="327392" y="331230"/>
                  <a:pt x="338331" y="331932"/>
                </a:cubicBezTo>
                <a:lnTo>
                  <a:pt x="339273" y="331932"/>
                </a:lnTo>
                <a:lnTo>
                  <a:pt x="339273" y="311049"/>
                </a:lnTo>
                <a:close/>
                <a:moveTo>
                  <a:pt x="263929" y="311049"/>
                </a:moveTo>
                <a:cubicBezTo>
                  <a:pt x="244435" y="311049"/>
                  <a:pt x="229208" y="317150"/>
                  <a:pt x="219287" y="329154"/>
                </a:cubicBezTo>
                <a:cubicBezTo>
                  <a:pt x="210062" y="340016"/>
                  <a:pt x="205350" y="355195"/>
                  <a:pt x="205350" y="374192"/>
                </a:cubicBezTo>
                <a:cubicBezTo>
                  <a:pt x="204642" y="390514"/>
                  <a:pt x="210035" y="406516"/>
                  <a:pt x="220478" y="419081"/>
                </a:cubicBezTo>
                <a:cubicBezTo>
                  <a:pt x="231637" y="431359"/>
                  <a:pt x="247705" y="438000"/>
                  <a:pt x="264276" y="437185"/>
                </a:cubicBezTo>
                <a:lnTo>
                  <a:pt x="265218" y="437185"/>
                </a:lnTo>
                <a:lnTo>
                  <a:pt x="265218" y="416303"/>
                </a:lnTo>
                <a:lnTo>
                  <a:pt x="264276" y="416303"/>
                </a:lnTo>
                <a:cubicBezTo>
                  <a:pt x="253424" y="416819"/>
                  <a:pt x="242945" y="412276"/>
                  <a:pt x="235904" y="404002"/>
                </a:cubicBezTo>
                <a:lnTo>
                  <a:pt x="235706" y="404002"/>
                </a:lnTo>
                <a:cubicBezTo>
                  <a:pt x="223218" y="386032"/>
                  <a:pt x="223041" y="362239"/>
                  <a:pt x="235259" y="344084"/>
                </a:cubicBezTo>
                <a:cubicBezTo>
                  <a:pt x="242362" y="335735"/>
                  <a:pt x="252990" y="331230"/>
                  <a:pt x="263929" y="331932"/>
                </a:cubicBezTo>
                <a:lnTo>
                  <a:pt x="264871" y="331932"/>
                </a:lnTo>
                <a:lnTo>
                  <a:pt x="264871" y="311049"/>
                </a:lnTo>
                <a:close/>
                <a:moveTo>
                  <a:pt x="155104" y="311049"/>
                </a:moveTo>
                <a:cubicBezTo>
                  <a:pt x="144042" y="311049"/>
                  <a:pt x="136304" y="316903"/>
                  <a:pt x="130303" y="328410"/>
                </a:cubicBezTo>
                <a:cubicBezTo>
                  <a:pt x="123893" y="342390"/>
                  <a:pt x="120868" y="357684"/>
                  <a:pt x="121474" y="373051"/>
                </a:cubicBezTo>
                <a:cubicBezTo>
                  <a:pt x="120809" y="388687"/>
                  <a:pt x="123692" y="404271"/>
                  <a:pt x="129906" y="418635"/>
                </a:cubicBezTo>
                <a:cubicBezTo>
                  <a:pt x="135610" y="430092"/>
                  <a:pt x="144042" y="435896"/>
                  <a:pt x="155054" y="435896"/>
                </a:cubicBezTo>
                <a:cubicBezTo>
                  <a:pt x="166065" y="435896"/>
                  <a:pt x="174894" y="429795"/>
                  <a:pt x="181293" y="417791"/>
                </a:cubicBezTo>
                <a:cubicBezTo>
                  <a:pt x="187735" y="403716"/>
                  <a:pt x="190760" y="388318"/>
                  <a:pt x="190122" y="372853"/>
                </a:cubicBezTo>
                <a:lnTo>
                  <a:pt x="181006" y="328265"/>
                </a:lnTo>
                <a:lnTo>
                  <a:pt x="181045" y="328311"/>
                </a:lnTo>
                <a:lnTo>
                  <a:pt x="180995" y="328212"/>
                </a:lnTo>
                <a:lnTo>
                  <a:pt x="181006" y="328265"/>
                </a:lnTo>
                <a:lnTo>
                  <a:pt x="169916" y="315383"/>
                </a:lnTo>
                <a:cubicBezTo>
                  <a:pt x="165582" y="312500"/>
                  <a:pt x="160635" y="311049"/>
                  <a:pt x="155104" y="311049"/>
                </a:cubicBezTo>
                <a:close/>
                <a:moveTo>
                  <a:pt x="515953" y="308371"/>
                </a:moveTo>
                <a:lnTo>
                  <a:pt x="514416" y="310008"/>
                </a:lnTo>
                <a:lnTo>
                  <a:pt x="470171" y="356236"/>
                </a:lnTo>
                <a:lnTo>
                  <a:pt x="470171" y="314125"/>
                </a:lnTo>
                <a:lnTo>
                  <a:pt x="450826" y="314125"/>
                </a:lnTo>
                <a:lnTo>
                  <a:pt x="450826" y="433813"/>
                </a:lnTo>
                <a:lnTo>
                  <a:pt x="470171" y="433813"/>
                </a:lnTo>
                <a:lnTo>
                  <a:pt x="470171" y="384658"/>
                </a:lnTo>
                <a:lnTo>
                  <a:pt x="498245" y="354897"/>
                </a:lnTo>
                <a:cubicBezTo>
                  <a:pt x="498245" y="359212"/>
                  <a:pt x="501073" y="433763"/>
                  <a:pt x="501073" y="433763"/>
                </a:cubicBezTo>
                <a:lnTo>
                  <a:pt x="520914" y="433763"/>
                </a:lnTo>
                <a:close/>
                <a:moveTo>
                  <a:pt x="423595" y="308173"/>
                </a:moveTo>
                <a:lnTo>
                  <a:pt x="422058" y="309809"/>
                </a:lnTo>
                <a:lnTo>
                  <a:pt x="377813" y="356038"/>
                </a:lnTo>
                <a:lnTo>
                  <a:pt x="377813" y="313926"/>
                </a:lnTo>
                <a:lnTo>
                  <a:pt x="358469" y="313926"/>
                </a:lnTo>
                <a:lnTo>
                  <a:pt x="358469" y="433614"/>
                </a:lnTo>
                <a:lnTo>
                  <a:pt x="377813" y="433614"/>
                </a:lnTo>
                <a:lnTo>
                  <a:pt x="377813" y="384459"/>
                </a:lnTo>
                <a:lnTo>
                  <a:pt x="405888" y="354698"/>
                </a:lnTo>
                <a:lnTo>
                  <a:pt x="408715" y="433565"/>
                </a:lnTo>
                <a:lnTo>
                  <a:pt x="428556" y="433565"/>
                </a:lnTo>
                <a:close/>
                <a:moveTo>
                  <a:pt x="461739" y="158377"/>
                </a:moveTo>
                <a:lnTo>
                  <a:pt x="469774" y="158377"/>
                </a:lnTo>
                <a:cubicBezTo>
                  <a:pt x="474422" y="157898"/>
                  <a:pt x="478979" y="159894"/>
                  <a:pt x="481778" y="163634"/>
                </a:cubicBezTo>
                <a:cubicBezTo>
                  <a:pt x="484241" y="168757"/>
                  <a:pt x="485641" y="174325"/>
                  <a:pt x="485895" y="180003"/>
                </a:cubicBezTo>
                <a:lnTo>
                  <a:pt x="461094" y="180003"/>
                </a:lnTo>
                <a:close/>
                <a:moveTo>
                  <a:pt x="192404" y="155698"/>
                </a:moveTo>
                <a:cubicBezTo>
                  <a:pt x="197761" y="155698"/>
                  <a:pt x="202671" y="159418"/>
                  <a:pt x="205449" y="167107"/>
                </a:cubicBezTo>
                <a:cubicBezTo>
                  <a:pt x="208421" y="177041"/>
                  <a:pt x="209729" y="187399"/>
                  <a:pt x="209318" y="197760"/>
                </a:cubicBezTo>
                <a:cubicBezTo>
                  <a:pt x="209641" y="208457"/>
                  <a:pt x="208113" y="219129"/>
                  <a:pt x="204804" y="229306"/>
                </a:cubicBezTo>
                <a:lnTo>
                  <a:pt x="204754" y="229108"/>
                </a:lnTo>
                <a:cubicBezTo>
                  <a:pt x="201878" y="236896"/>
                  <a:pt x="197810" y="240666"/>
                  <a:pt x="192354" y="240666"/>
                </a:cubicBezTo>
                <a:cubicBezTo>
                  <a:pt x="186898" y="240666"/>
                  <a:pt x="183178" y="236846"/>
                  <a:pt x="180301" y="228910"/>
                </a:cubicBezTo>
                <a:cubicBezTo>
                  <a:pt x="177053" y="218957"/>
                  <a:pt x="175527" y="208524"/>
                  <a:pt x="175787" y="198058"/>
                </a:cubicBezTo>
                <a:cubicBezTo>
                  <a:pt x="175460" y="187511"/>
                  <a:pt x="176971" y="176987"/>
                  <a:pt x="180251" y="166958"/>
                </a:cubicBezTo>
                <a:cubicBezTo>
                  <a:pt x="183079" y="159369"/>
                  <a:pt x="187047" y="155698"/>
                  <a:pt x="192404" y="155698"/>
                </a:cubicBezTo>
                <a:close/>
                <a:moveTo>
                  <a:pt x="440609" y="138536"/>
                </a:moveTo>
                <a:lnTo>
                  <a:pt x="436541" y="258919"/>
                </a:lnTo>
                <a:lnTo>
                  <a:pt x="458664" y="258919"/>
                </a:lnTo>
                <a:lnTo>
                  <a:pt x="460796" y="199993"/>
                </a:lnTo>
                <a:lnTo>
                  <a:pt x="488425" y="199993"/>
                </a:lnTo>
                <a:lnTo>
                  <a:pt x="494625" y="258720"/>
                </a:lnTo>
                <a:lnTo>
                  <a:pt x="516945" y="258720"/>
                </a:lnTo>
                <a:lnTo>
                  <a:pt x="506727" y="170777"/>
                </a:lnTo>
                <a:cubicBezTo>
                  <a:pt x="507512" y="161003"/>
                  <a:pt x="503587" y="151440"/>
                  <a:pt x="496162" y="145034"/>
                </a:cubicBezTo>
                <a:cubicBezTo>
                  <a:pt x="489526" y="140357"/>
                  <a:pt x="481501" y="138066"/>
                  <a:pt x="473395" y="138536"/>
                </a:cubicBezTo>
                <a:close/>
                <a:moveTo>
                  <a:pt x="352517" y="138536"/>
                </a:moveTo>
                <a:lnTo>
                  <a:pt x="352517" y="158377"/>
                </a:lnTo>
                <a:lnTo>
                  <a:pt x="370869" y="158377"/>
                </a:lnTo>
                <a:lnTo>
                  <a:pt x="371067" y="258770"/>
                </a:lnTo>
                <a:lnTo>
                  <a:pt x="393190" y="258770"/>
                </a:lnTo>
                <a:lnTo>
                  <a:pt x="393190" y="158377"/>
                </a:lnTo>
                <a:lnTo>
                  <a:pt x="411840" y="158377"/>
                </a:lnTo>
                <a:lnTo>
                  <a:pt x="411840" y="138536"/>
                </a:lnTo>
                <a:close/>
                <a:moveTo>
                  <a:pt x="256141" y="138536"/>
                </a:moveTo>
                <a:lnTo>
                  <a:pt x="256141" y="172761"/>
                </a:lnTo>
                <a:cubicBezTo>
                  <a:pt x="256081" y="180446"/>
                  <a:pt x="259511" y="187744"/>
                  <a:pt x="265466" y="192602"/>
                </a:cubicBezTo>
                <a:cubicBezTo>
                  <a:pt x="271657" y="197904"/>
                  <a:pt x="279589" y="200731"/>
                  <a:pt x="287737" y="200538"/>
                </a:cubicBezTo>
                <a:lnTo>
                  <a:pt x="303858" y="200637"/>
                </a:lnTo>
                <a:lnTo>
                  <a:pt x="303858" y="258770"/>
                </a:lnTo>
                <a:lnTo>
                  <a:pt x="325980" y="258770"/>
                </a:lnTo>
                <a:lnTo>
                  <a:pt x="325980" y="138536"/>
                </a:lnTo>
                <a:lnTo>
                  <a:pt x="303858" y="138536"/>
                </a:lnTo>
                <a:lnTo>
                  <a:pt x="303858" y="180449"/>
                </a:lnTo>
                <a:lnTo>
                  <a:pt x="291805" y="180449"/>
                </a:lnTo>
                <a:cubicBezTo>
                  <a:pt x="287838" y="180773"/>
                  <a:pt x="283898" y="179566"/>
                  <a:pt x="280793" y="177077"/>
                </a:cubicBezTo>
                <a:cubicBezTo>
                  <a:pt x="279054" y="175396"/>
                  <a:pt x="278131" y="173043"/>
                  <a:pt x="278263" y="170629"/>
                </a:cubicBezTo>
                <a:lnTo>
                  <a:pt x="278264" y="138536"/>
                </a:lnTo>
                <a:close/>
                <a:moveTo>
                  <a:pt x="52676" y="138536"/>
                </a:moveTo>
                <a:lnTo>
                  <a:pt x="52676" y="258919"/>
                </a:lnTo>
                <a:lnTo>
                  <a:pt x="74799" y="258919"/>
                </a:lnTo>
                <a:lnTo>
                  <a:pt x="74799" y="158377"/>
                </a:lnTo>
                <a:lnTo>
                  <a:pt x="101980" y="158377"/>
                </a:lnTo>
                <a:lnTo>
                  <a:pt x="101980" y="258720"/>
                </a:lnTo>
                <a:lnTo>
                  <a:pt x="124102" y="258720"/>
                </a:lnTo>
                <a:lnTo>
                  <a:pt x="124102" y="138536"/>
                </a:lnTo>
                <a:close/>
                <a:moveTo>
                  <a:pt x="192354" y="135114"/>
                </a:moveTo>
                <a:cubicBezTo>
                  <a:pt x="180470" y="135160"/>
                  <a:pt x="169652" y="141974"/>
                  <a:pt x="164478" y="152673"/>
                </a:cubicBezTo>
                <a:cubicBezTo>
                  <a:pt x="157317" y="166552"/>
                  <a:pt x="153897" y="182057"/>
                  <a:pt x="154558" y="197661"/>
                </a:cubicBezTo>
                <a:cubicBezTo>
                  <a:pt x="153838" y="213506"/>
                  <a:pt x="157094" y="229279"/>
                  <a:pt x="164032" y="243542"/>
                </a:cubicBezTo>
                <a:cubicBezTo>
                  <a:pt x="169242" y="254410"/>
                  <a:pt x="180304" y="261248"/>
                  <a:pt x="192354" y="261051"/>
                </a:cubicBezTo>
                <a:cubicBezTo>
                  <a:pt x="204885" y="261056"/>
                  <a:pt x="216329" y="253939"/>
                  <a:pt x="221867" y="242699"/>
                </a:cubicBezTo>
                <a:cubicBezTo>
                  <a:pt x="229053" y="228740"/>
                  <a:pt x="232472" y="213148"/>
                  <a:pt x="231787" y="197463"/>
                </a:cubicBezTo>
                <a:cubicBezTo>
                  <a:pt x="232469" y="181854"/>
                  <a:pt x="228939" y="166350"/>
                  <a:pt x="221569" y="152574"/>
                </a:cubicBezTo>
                <a:cubicBezTo>
                  <a:pt x="215885" y="141727"/>
                  <a:pt x="204599" y="134982"/>
                  <a:pt x="192354" y="135114"/>
                </a:cubicBezTo>
                <a:close/>
                <a:moveTo>
                  <a:pt x="22569" y="0"/>
                </a:moveTo>
                <a:lnTo>
                  <a:pt x="550377" y="0"/>
                </a:lnTo>
                <a:cubicBezTo>
                  <a:pt x="562841" y="0"/>
                  <a:pt x="572945" y="10104"/>
                  <a:pt x="572945" y="22569"/>
                </a:cubicBezTo>
                <a:lnTo>
                  <a:pt x="572945" y="550425"/>
                </a:lnTo>
                <a:cubicBezTo>
                  <a:pt x="572945" y="562890"/>
                  <a:pt x="562841" y="572994"/>
                  <a:pt x="550377" y="572994"/>
                </a:cubicBezTo>
                <a:lnTo>
                  <a:pt x="22569" y="572994"/>
                </a:lnTo>
                <a:cubicBezTo>
                  <a:pt x="10104" y="572994"/>
                  <a:pt x="0" y="562890"/>
                  <a:pt x="0" y="550425"/>
                </a:cubicBezTo>
                <a:lnTo>
                  <a:pt x="0" y="22569"/>
                </a:lnTo>
                <a:cubicBezTo>
                  <a:pt x="0" y="10104"/>
                  <a:pt x="10104" y="0"/>
                  <a:pt x="22569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="" xmlns:a16="http://schemas.microsoft.com/office/drawing/2014/main" id="{33D3757C-747D-4FF9-9AC8-D741A53F6FF4}"/>
              </a:ext>
            </a:extLst>
          </p:cNvPr>
          <p:cNvCxnSpPr>
            <a:cxnSpLocks/>
          </p:cNvCxnSpPr>
          <p:nvPr userDrawn="1"/>
        </p:nvCxnSpPr>
        <p:spPr>
          <a:xfrm>
            <a:off x="1151998" y="5276397"/>
            <a:ext cx="41984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427521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6A444D67-F8CE-4F7C-A73B-78C309C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9D5186-85BD-4647-9A01-8226F56382D2}" type="slidenum">
              <a:rPr lang="ru-RU" smtClean="0"/>
              <a:t>‹#›</a:t>
            </a:fld>
            <a:endParaRPr lang="ru-RU"/>
          </a:p>
        </p:txBody>
      </p:sp>
      <p:grpSp>
        <p:nvGrpSpPr>
          <p:cNvPr id="26" name="Группа 25">
            <a:extLst>
              <a:ext uri="{FF2B5EF4-FFF2-40B4-BE49-F238E27FC236}">
                <a16:creationId xmlns="" xmlns:a16="http://schemas.microsoft.com/office/drawing/2014/main" id="{6E3DB81A-CBB7-443D-B186-3B9B9AC5FE43}"/>
              </a:ext>
            </a:extLst>
          </p:cNvPr>
          <p:cNvGrpSpPr/>
          <p:nvPr userDrawn="1"/>
        </p:nvGrpSpPr>
        <p:grpSpPr>
          <a:xfrm rot="5400000">
            <a:off x="-1060690" y="461365"/>
            <a:ext cx="1291830" cy="369097"/>
            <a:chOff x="632155" y="5349213"/>
            <a:chExt cx="3360373" cy="960114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="" xmlns:a16="http://schemas.microsoft.com/office/drawing/2014/main" id="{6BAE129E-D062-4C70-B6FC-760E6A2666DD}"/>
                </a:ext>
              </a:extLst>
            </p:cNvPr>
            <p:cNvSpPr/>
            <p:nvPr/>
          </p:nvSpPr>
          <p:spPr>
            <a:xfrm>
              <a:off x="632155" y="5349213"/>
              <a:ext cx="960107" cy="96010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="" xmlns:a16="http://schemas.microsoft.com/office/drawing/2014/main" id="{FAF0D6FB-4AAE-45BB-A6D2-F4BCD8309BE0}"/>
                </a:ext>
              </a:extLst>
            </p:cNvPr>
            <p:cNvSpPr/>
            <p:nvPr/>
          </p:nvSpPr>
          <p:spPr>
            <a:xfrm>
              <a:off x="1592261" y="5349213"/>
              <a:ext cx="960107" cy="960107"/>
            </a:xfrm>
            <a:prstGeom prst="rect">
              <a:avLst/>
            </a:prstGeom>
            <a:solidFill>
              <a:srgbClr val="2C56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="" xmlns:a16="http://schemas.microsoft.com/office/drawing/2014/main" id="{4F1717D7-EBA6-4A8E-BB2A-AC4B6AE5EB83}"/>
                </a:ext>
              </a:extLst>
            </p:cNvPr>
            <p:cNvSpPr/>
            <p:nvPr/>
          </p:nvSpPr>
          <p:spPr>
            <a:xfrm>
              <a:off x="2552368" y="5349213"/>
              <a:ext cx="960106" cy="960107"/>
            </a:xfrm>
            <a:prstGeom prst="rect">
              <a:avLst/>
            </a:prstGeom>
            <a:solidFill>
              <a:srgbClr val="F7A8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="" xmlns:a16="http://schemas.microsoft.com/office/drawing/2014/main" id="{08A2A0FD-8B3F-4359-B9EE-A79DF170B018}"/>
                </a:ext>
              </a:extLst>
            </p:cNvPr>
            <p:cNvSpPr/>
            <p:nvPr/>
          </p:nvSpPr>
          <p:spPr>
            <a:xfrm>
              <a:off x="3512475" y="5349213"/>
              <a:ext cx="480053" cy="48005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="" xmlns:a16="http://schemas.microsoft.com/office/drawing/2014/main" id="{0683CCA6-DEC1-4ED2-B94A-C55E2E6003BC}"/>
                </a:ext>
              </a:extLst>
            </p:cNvPr>
            <p:cNvSpPr/>
            <p:nvPr/>
          </p:nvSpPr>
          <p:spPr>
            <a:xfrm>
              <a:off x="3512475" y="5829274"/>
              <a:ext cx="480053" cy="4800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="" xmlns:a16="http://schemas.microsoft.com/office/drawing/2014/main" id="{4C520701-7495-4B13-86E4-38EE20190262}"/>
              </a:ext>
            </a:extLst>
          </p:cNvPr>
          <p:cNvGrpSpPr/>
          <p:nvPr userDrawn="1"/>
        </p:nvGrpSpPr>
        <p:grpSpPr>
          <a:xfrm rot="5400000">
            <a:off x="-1337511" y="2738906"/>
            <a:ext cx="1845470" cy="369094"/>
            <a:chOff x="6299597" y="4435281"/>
            <a:chExt cx="4800534" cy="960107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="" xmlns:a16="http://schemas.microsoft.com/office/drawing/2014/main" id="{C7B47708-1020-49F7-ADB6-91749C55E30D}"/>
                </a:ext>
              </a:extLst>
            </p:cNvPr>
            <p:cNvSpPr/>
            <p:nvPr userDrawn="1"/>
          </p:nvSpPr>
          <p:spPr>
            <a:xfrm>
              <a:off x="6299597" y="4435281"/>
              <a:ext cx="960107" cy="960107"/>
            </a:xfrm>
            <a:prstGeom prst="rect">
              <a:avLst/>
            </a:prstGeom>
            <a:solidFill>
              <a:srgbClr val="B915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="" xmlns:a16="http://schemas.microsoft.com/office/drawing/2014/main" id="{749BABDC-9464-4A3E-BF45-EBC8B9627330}"/>
                </a:ext>
              </a:extLst>
            </p:cNvPr>
            <p:cNvSpPr/>
            <p:nvPr userDrawn="1"/>
          </p:nvSpPr>
          <p:spPr>
            <a:xfrm>
              <a:off x="7259704" y="4435281"/>
              <a:ext cx="960106" cy="960107"/>
            </a:xfrm>
            <a:prstGeom prst="rect">
              <a:avLst/>
            </a:prstGeom>
            <a:solidFill>
              <a:srgbClr val="6ACC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2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="" xmlns:a16="http://schemas.microsoft.com/office/drawing/2014/main" id="{B30FF824-93C5-4FAA-91D0-5C09F24EE519}"/>
                </a:ext>
              </a:extLst>
            </p:cNvPr>
            <p:cNvSpPr/>
            <p:nvPr userDrawn="1"/>
          </p:nvSpPr>
          <p:spPr>
            <a:xfrm>
              <a:off x="8219810" y="4435281"/>
              <a:ext cx="960107" cy="960107"/>
            </a:xfrm>
            <a:prstGeom prst="rect">
              <a:avLst/>
            </a:prstGeom>
            <a:solidFill>
              <a:srgbClr val="6597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="" xmlns:a16="http://schemas.microsoft.com/office/drawing/2014/main" id="{289F46DB-D319-443D-A23C-391724686A0A}"/>
                </a:ext>
              </a:extLst>
            </p:cNvPr>
            <p:cNvSpPr/>
            <p:nvPr userDrawn="1"/>
          </p:nvSpPr>
          <p:spPr>
            <a:xfrm>
              <a:off x="9179917" y="4435281"/>
              <a:ext cx="960107" cy="960107"/>
            </a:xfrm>
            <a:prstGeom prst="rect">
              <a:avLst/>
            </a:prstGeom>
            <a:solidFill>
              <a:srgbClr val="FFEE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="" xmlns:a16="http://schemas.microsoft.com/office/drawing/2014/main" id="{0CA4C897-3B83-4BE5-94BB-89ACC0A28CED}"/>
                </a:ext>
              </a:extLst>
            </p:cNvPr>
            <p:cNvSpPr/>
            <p:nvPr userDrawn="1"/>
          </p:nvSpPr>
          <p:spPr>
            <a:xfrm>
              <a:off x="10140024" y="4435281"/>
              <a:ext cx="960107" cy="960107"/>
            </a:xfrm>
            <a:prstGeom prst="rect">
              <a:avLst/>
            </a:prstGeom>
            <a:solidFill>
              <a:srgbClr val="B07A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="" xmlns:a16="http://schemas.microsoft.com/office/drawing/2014/main" id="{F1073788-E706-4033-BAA2-5EFD99305210}"/>
                </a:ext>
              </a:extLst>
            </p:cNvPr>
            <p:cNvSpPr/>
            <p:nvPr userDrawn="1"/>
          </p:nvSpPr>
          <p:spPr>
            <a:xfrm>
              <a:off x="7739756" y="4435281"/>
              <a:ext cx="480053" cy="960107"/>
            </a:xfrm>
            <a:prstGeom prst="rect">
              <a:avLst/>
            </a:prstGeom>
            <a:solidFill>
              <a:srgbClr val="3EBB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9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7" name="Текст 8">
            <a:extLst>
              <a:ext uri="{FF2B5EF4-FFF2-40B4-BE49-F238E27FC236}">
                <a16:creationId xmlns="" xmlns:a16="http://schemas.microsoft.com/office/drawing/2014/main" id="{6F284E74-1663-473D-8DED-1DFF775623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931052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="" xmlns:a16="http://schemas.microsoft.com/office/drawing/2014/main" id="{E9681B9B-C3B0-4FEF-88E7-2047B2DC87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8507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38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="" xmlns:a16="http://schemas.microsoft.com/office/drawing/2014/main" id="{E9681B9B-C3B0-4FEF-88E7-2047B2DC8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971F5A74-7287-40DD-AC2D-3141D458D9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74" r="8873"/>
          <a:stretch/>
        </p:blipFill>
        <p:spPr>
          <a:xfrm>
            <a:off x="2249714" y="921942"/>
            <a:ext cx="9942286" cy="5936058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6A444D67-F8CE-4F7C-A73B-78C309C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9D5186-85BD-4647-9A01-8226F56382D2}" type="slidenum">
              <a:rPr lang="ru-RU" smtClean="0"/>
              <a:t>‹#›</a:t>
            </a:fld>
            <a:endParaRPr lang="ru-RU"/>
          </a:p>
        </p:txBody>
      </p:sp>
      <p:grpSp>
        <p:nvGrpSpPr>
          <p:cNvPr id="26" name="Группа 25">
            <a:extLst>
              <a:ext uri="{FF2B5EF4-FFF2-40B4-BE49-F238E27FC236}">
                <a16:creationId xmlns="" xmlns:a16="http://schemas.microsoft.com/office/drawing/2014/main" id="{6E3DB81A-CBB7-443D-B186-3B9B9AC5FE43}"/>
              </a:ext>
            </a:extLst>
          </p:cNvPr>
          <p:cNvGrpSpPr/>
          <p:nvPr userDrawn="1"/>
        </p:nvGrpSpPr>
        <p:grpSpPr>
          <a:xfrm rot="5400000">
            <a:off x="-1060690" y="461365"/>
            <a:ext cx="1291830" cy="369097"/>
            <a:chOff x="632155" y="5349213"/>
            <a:chExt cx="3360373" cy="960114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="" xmlns:a16="http://schemas.microsoft.com/office/drawing/2014/main" id="{6BAE129E-D062-4C70-B6FC-760E6A2666DD}"/>
                </a:ext>
              </a:extLst>
            </p:cNvPr>
            <p:cNvSpPr/>
            <p:nvPr/>
          </p:nvSpPr>
          <p:spPr>
            <a:xfrm>
              <a:off x="632155" y="5349213"/>
              <a:ext cx="960107" cy="96010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="" xmlns:a16="http://schemas.microsoft.com/office/drawing/2014/main" id="{FAF0D6FB-4AAE-45BB-A6D2-F4BCD8309BE0}"/>
                </a:ext>
              </a:extLst>
            </p:cNvPr>
            <p:cNvSpPr/>
            <p:nvPr/>
          </p:nvSpPr>
          <p:spPr>
            <a:xfrm>
              <a:off x="1592261" y="5349213"/>
              <a:ext cx="960107" cy="960107"/>
            </a:xfrm>
            <a:prstGeom prst="rect">
              <a:avLst/>
            </a:prstGeom>
            <a:solidFill>
              <a:srgbClr val="2C56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="" xmlns:a16="http://schemas.microsoft.com/office/drawing/2014/main" id="{4F1717D7-EBA6-4A8E-BB2A-AC4B6AE5EB83}"/>
                </a:ext>
              </a:extLst>
            </p:cNvPr>
            <p:cNvSpPr/>
            <p:nvPr/>
          </p:nvSpPr>
          <p:spPr>
            <a:xfrm>
              <a:off x="2552368" y="5349213"/>
              <a:ext cx="960106" cy="960107"/>
            </a:xfrm>
            <a:prstGeom prst="rect">
              <a:avLst/>
            </a:prstGeom>
            <a:solidFill>
              <a:srgbClr val="F7A8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="" xmlns:a16="http://schemas.microsoft.com/office/drawing/2014/main" id="{08A2A0FD-8B3F-4359-B9EE-A79DF170B018}"/>
                </a:ext>
              </a:extLst>
            </p:cNvPr>
            <p:cNvSpPr/>
            <p:nvPr/>
          </p:nvSpPr>
          <p:spPr>
            <a:xfrm>
              <a:off x="3512475" y="5349213"/>
              <a:ext cx="480053" cy="48005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="" xmlns:a16="http://schemas.microsoft.com/office/drawing/2014/main" id="{0683CCA6-DEC1-4ED2-B94A-C55E2E6003BC}"/>
                </a:ext>
              </a:extLst>
            </p:cNvPr>
            <p:cNvSpPr/>
            <p:nvPr/>
          </p:nvSpPr>
          <p:spPr>
            <a:xfrm>
              <a:off x="3512475" y="5829274"/>
              <a:ext cx="480053" cy="4800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="" xmlns:a16="http://schemas.microsoft.com/office/drawing/2014/main" id="{4C520701-7495-4B13-86E4-38EE20190262}"/>
              </a:ext>
            </a:extLst>
          </p:cNvPr>
          <p:cNvGrpSpPr/>
          <p:nvPr userDrawn="1"/>
        </p:nvGrpSpPr>
        <p:grpSpPr>
          <a:xfrm rot="5400000">
            <a:off x="-1337511" y="2738906"/>
            <a:ext cx="1845470" cy="369094"/>
            <a:chOff x="6299597" y="4435281"/>
            <a:chExt cx="4800534" cy="960107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="" xmlns:a16="http://schemas.microsoft.com/office/drawing/2014/main" id="{C7B47708-1020-49F7-ADB6-91749C55E30D}"/>
                </a:ext>
              </a:extLst>
            </p:cNvPr>
            <p:cNvSpPr/>
            <p:nvPr userDrawn="1"/>
          </p:nvSpPr>
          <p:spPr>
            <a:xfrm>
              <a:off x="6299597" y="4435281"/>
              <a:ext cx="960107" cy="960107"/>
            </a:xfrm>
            <a:prstGeom prst="rect">
              <a:avLst/>
            </a:prstGeom>
            <a:solidFill>
              <a:srgbClr val="B915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="" xmlns:a16="http://schemas.microsoft.com/office/drawing/2014/main" id="{749BABDC-9464-4A3E-BF45-EBC8B9627330}"/>
                </a:ext>
              </a:extLst>
            </p:cNvPr>
            <p:cNvSpPr/>
            <p:nvPr userDrawn="1"/>
          </p:nvSpPr>
          <p:spPr>
            <a:xfrm>
              <a:off x="7259704" y="4435281"/>
              <a:ext cx="960106" cy="960107"/>
            </a:xfrm>
            <a:prstGeom prst="rect">
              <a:avLst/>
            </a:prstGeom>
            <a:solidFill>
              <a:srgbClr val="6ACC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2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="" xmlns:a16="http://schemas.microsoft.com/office/drawing/2014/main" id="{B30FF824-93C5-4FAA-91D0-5C09F24EE519}"/>
                </a:ext>
              </a:extLst>
            </p:cNvPr>
            <p:cNvSpPr/>
            <p:nvPr userDrawn="1"/>
          </p:nvSpPr>
          <p:spPr>
            <a:xfrm>
              <a:off x="8219810" y="4435281"/>
              <a:ext cx="960107" cy="960107"/>
            </a:xfrm>
            <a:prstGeom prst="rect">
              <a:avLst/>
            </a:prstGeom>
            <a:solidFill>
              <a:srgbClr val="6597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="" xmlns:a16="http://schemas.microsoft.com/office/drawing/2014/main" id="{289F46DB-D319-443D-A23C-391724686A0A}"/>
                </a:ext>
              </a:extLst>
            </p:cNvPr>
            <p:cNvSpPr/>
            <p:nvPr userDrawn="1"/>
          </p:nvSpPr>
          <p:spPr>
            <a:xfrm>
              <a:off x="9179917" y="4435281"/>
              <a:ext cx="960107" cy="960107"/>
            </a:xfrm>
            <a:prstGeom prst="rect">
              <a:avLst/>
            </a:prstGeom>
            <a:solidFill>
              <a:srgbClr val="FFEE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="" xmlns:a16="http://schemas.microsoft.com/office/drawing/2014/main" id="{0CA4C897-3B83-4BE5-94BB-89ACC0A28CED}"/>
                </a:ext>
              </a:extLst>
            </p:cNvPr>
            <p:cNvSpPr/>
            <p:nvPr userDrawn="1"/>
          </p:nvSpPr>
          <p:spPr>
            <a:xfrm>
              <a:off x="10140024" y="4435281"/>
              <a:ext cx="960107" cy="960107"/>
            </a:xfrm>
            <a:prstGeom prst="rect">
              <a:avLst/>
            </a:prstGeom>
            <a:solidFill>
              <a:srgbClr val="B07A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="" xmlns:a16="http://schemas.microsoft.com/office/drawing/2014/main" id="{F1073788-E706-4033-BAA2-5EFD99305210}"/>
                </a:ext>
              </a:extLst>
            </p:cNvPr>
            <p:cNvSpPr/>
            <p:nvPr userDrawn="1"/>
          </p:nvSpPr>
          <p:spPr>
            <a:xfrm>
              <a:off x="7739756" y="4435281"/>
              <a:ext cx="480053" cy="960107"/>
            </a:xfrm>
            <a:prstGeom prst="rect">
              <a:avLst/>
            </a:prstGeom>
            <a:solidFill>
              <a:srgbClr val="3EBB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9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="" xmlns:a16="http://schemas.microsoft.com/office/drawing/2014/main" id="{7D015FAF-9277-44C4-A83B-CD45506FB431}"/>
              </a:ext>
            </a:extLst>
          </p:cNvPr>
          <p:cNvGrpSpPr/>
          <p:nvPr userDrawn="1"/>
        </p:nvGrpSpPr>
        <p:grpSpPr>
          <a:xfrm>
            <a:off x="821190" y="777648"/>
            <a:ext cx="1233487" cy="1233592"/>
            <a:chOff x="5547741" y="2881978"/>
            <a:chExt cx="1100232" cy="1100328"/>
          </a:xfrm>
        </p:grpSpPr>
        <p:sp>
          <p:nvSpPr>
            <p:cNvPr id="18" name="Полилиния: фигура 17">
              <a:extLst>
                <a:ext uri="{FF2B5EF4-FFF2-40B4-BE49-F238E27FC236}">
                  <a16:creationId xmlns="" xmlns:a16="http://schemas.microsoft.com/office/drawing/2014/main" id="{1367E1D7-415A-4D7D-B462-1974D23D34EB}"/>
                </a:ext>
              </a:extLst>
            </p:cNvPr>
            <p:cNvSpPr/>
            <p:nvPr/>
          </p:nvSpPr>
          <p:spPr>
            <a:xfrm>
              <a:off x="5547741" y="2881978"/>
              <a:ext cx="1100232" cy="1100328"/>
            </a:xfrm>
            <a:custGeom>
              <a:avLst/>
              <a:gdLst>
                <a:gd name="connsiteX0" fmla="*/ 1056894 w 1100232"/>
                <a:gd name="connsiteY0" fmla="*/ 0 h 1100328"/>
                <a:gd name="connsiteX1" fmla="*/ 1100233 w 1100232"/>
                <a:gd name="connsiteY1" fmla="*/ 43339 h 1100328"/>
                <a:gd name="connsiteX2" fmla="*/ 1100233 w 1100232"/>
                <a:gd name="connsiteY2" fmla="*/ 1056989 h 1100328"/>
                <a:gd name="connsiteX3" fmla="*/ 1056894 w 1100232"/>
                <a:gd name="connsiteY3" fmla="*/ 1100328 h 1100328"/>
                <a:gd name="connsiteX4" fmla="*/ 43339 w 1100232"/>
                <a:gd name="connsiteY4" fmla="*/ 1100328 h 1100328"/>
                <a:gd name="connsiteX5" fmla="*/ 0 w 1100232"/>
                <a:gd name="connsiteY5" fmla="*/ 1056989 h 1100328"/>
                <a:gd name="connsiteX6" fmla="*/ 0 w 1100232"/>
                <a:gd name="connsiteY6" fmla="*/ 43339 h 1100328"/>
                <a:gd name="connsiteX7" fmla="*/ 43339 w 1100232"/>
                <a:gd name="connsiteY7" fmla="*/ 0 h 110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0232" h="1100328">
                  <a:moveTo>
                    <a:pt x="1056894" y="0"/>
                  </a:moveTo>
                  <a:cubicBezTo>
                    <a:pt x="1080829" y="0"/>
                    <a:pt x="1100233" y="19403"/>
                    <a:pt x="1100233" y="43339"/>
                  </a:cubicBezTo>
                  <a:lnTo>
                    <a:pt x="1100233" y="1056989"/>
                  </a:lnTo>
                  <a:cubicBezTo>
                    <a:pt x="1100233" y="1080925"/>
                    <a:pt x="1080829" y="1100328"/>
                    <a:pt x="1056894" y="1100328"/>
                  </a:cubicBezTo>
                  <a:lnTo>
                    <a:pt x="43339" y="1100328"/>
                  </a:lnTo>
                  <a:cubicBezTo>
                    <a:pt x="19403" y="1100328"/>
                    <a:pt x="0" y="1080925"/>
                    <a:pt x="0" y="1056989"/>
                  </a:cubicBezTo>
                  <a:lnTo>
                    <a:pt x="0" y="43339"/>
                  </a:lnTo>
                  <a:cubicBezTo>
                    <a:pt x="0" y="19403"/>
                    <a:pt x="19403" y="0"/>
                    <a:pt x="43339" y="0"/>
                  </a:cubicBezTo>
                  <a:close/>
                </a:path>
              </a:pathLst>
            </a:custGeom>
            <a:solidFill>
              <a:srgbClr val="1937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="" xmlns:a16="http://schemas.microsoft.com/office/drawing/2014/main" id="{4ED1C9C3-6803-4825-B834-C2CFBC292E20}"/>
                </a:ext>
              </a:extLst>
            </p:cNvPr>
            <p:cNvSpPr/>
            <p:nvPr/>
          </p:nvSpPr>
          <p:spPr>
            <a:xfrm>
              <a:off x="5648325" y="3141436"/>
              <a:ext cx="899731" cy="580204"/>
            </a:xfrm>
            <a:custGeom>
              <a:avLst/>
              <a:gdLst>
                <a:gd name="connsiteX0" fmla="*/ 247079 w 899731"/>
                <a:gd name="connsiteY0" fmla="*/ 371002 h 580204"/>
                <a:gd name="connsiteX1" fmla="*/ 197263 w 899731"/>
                <a:gd name="connsiteY1" fmla="*/ 337855 h 580204"/>
                <a:gd name="connsiteX2" fmla="*/ 149638 w 899731"/>
                <a:gd name="connsiteY2" fmla="*/ 371193 h 580204"/>
                <a:gd name="connsiteX3" fmla="*/ 132683 w 899731"/>
                <a:gd name="connsiteY3" fmla="*/ 456918 h 580204"/>
                <a:gd name="connsiteX4" fmla="*/ 148876 w 899731"/>
                <a:gd name="connsiteY4" fmla="*/ 544453 h 580204"/>
                <a:gd name="connsiteX5" fmla="*/ 197167 w 899731"/>
                <a:gd name="connsiteY5" fmla="*/ 577600 h 580204"/>
                <a:gd name="connsiteX6" fmla="*/ 247555 w 899731"/>
                <a:gd name="connsiteY6" fmla="*/ 542833 h 580204"/>
                <a:gd name="connsiteX7" fmla="*/ 264509 w 899731"/>
                <a:gd name="connsiteY7" fmla="*/ 456537 h 580204"/>
                <a:gd name="connsiteX8" fmla="*/ 246983 w 899731"/>
                <a:gd name="connsiteY8" fmla="*/ 370812 h 580204"/>
                <a:gd name="connsiteX9" fmla="*/ 219075 w 899731"/>
                <a:gd name="connsiteY9" fmla="*/ 517783 h 580204"/>
                <a:gd name="connsiteX10" fmla="*/ 197358 w 899731"/>
                <a:gd name="connsiteY10" fmla="*/ 540547 h 580204"/>
                <a:gd name="connsiteX11" fmla="*/ 176117 w 899731"/>
                <a:gd name="connsiteY11" fmla="*/ 517497 h 580204"/>
                <a:gd name="connsiteX12" fmla="*/ 168307 w 899731"/>
                <a:gd name="connsiteY12" fmla="*/ 457299 h 580204"/>
                <a:gd name="connsiteX13" fmla="*/ 176022 w 899731"/>
                <a:gd name="connsiteY13" fmla="*/ 397196 h 580204"/>
                <a:gd name="connsiteX14" fmla="*/ 197358 w 899731"/>
                <a:gd name="connsiteY14" fmla="*/ 375003 h 580204"/>
                <a:gd name="connsiteX15" fmla="*/ 220218 w 899731"/>
                <a:gd name="connsiteY15" fmla="*/ 397482 h 580204"/>
                <a:gd name="connsiteX16" fmla="*/ 226886 w 899731"/>
                <a:gd name="connsiteY16" fmla="*/ 456727 h 580204"/>
                <a:gd name="connsiteX17" fmla="*/ 219075 w 899731"/>
                <a:gd name="connsiteY17" fmla="*/ 517783 h 580204"/>
                <a:gd name="connsiteX18" fmla="*/ 325469 w 899731"/>
                <a:gd name="connsiteY18" fmla="*/ 206601 h 580204"/>
                <a:gd name="connsiteX19" fmla="*/ 344519 w 899731"/>
                <a:gd name="connsiteY19" fmla="*/ 119733 h 580204"/>
                <a:gd name="connsiteX20" fmla="*/ 324898 w 899731"/>
                <a:gd name="connsiteY20" fmla="*/ 33532 h 580204"/>
                <a:gd name="connsiteX21" fmla="*/ 268796 w 899731"/>
                <a:gd name="connsiteY21" fmla="*/ 4 h 580204"/>
                <a:gd name="connsiteX22" fmla="*/ 215265 w 899731"/>
                <a:gd name="connsiteY22" fmla="*/ 33722 h 580204"/>
                <a:gd name="connsiteX23" fmla="*/ 196215 w 899731"/>
                <a:gd name="connsiteY23" fmla="*/ 120114 h 580204"/>
                <a:gd name="connsiteX24" fmla="*/ 214408 w 899731"/>
                <a:gd name="connsiteY24" fmla="*/ 208220 h 580204"/>
                <a:gd name="connsiteX25" fmla="*/ 268796 w 899731"/>
                <a:gd name="connsiteY25" fmla="*/ 241843 h 580204"/>
                <a:gd name="connsiteX26" fmla="*/ 325469 w 899731"/>
                <a:gd name="connsiteY26" fmla="*/ 206601 h 580204"/>
                <a:gd name="connsiteX27" fmla="*/ 292608 w 899731"/>
                <a:gd name="connsiteY27" fmla="*/ 180502 h 580204"/>
                <a:gd name="connsiteX28" fmla="*/ 268796 w 899731"/>
                <a:gd name="connsiteY28" fmla="*/ 202696 h 580204"/>
                <a:gd name="connsiteX29" fmla="*/ 245650 w 899731"/>
                <a:gd name="connsiteY29" fmla="*/ 180121 h 580204"/>
                <a:gd name="connsiteX30" fmla="*/ 236982 w 899731"/>
                <a:gd name="connsiteY30" fmla="*/ 120876 h 580204"/>
                <a:gd name="connsiteX31" fmla="*/ 245554 w 899731"/>
                <a:gd name="connsiteY31" fmla="*/ 61154 h 580204"/>
                <a:gd name="connsiteX32" fmla="*/ 268891 w 899731"/>
                <a:gd name="connsiteY32" fmla="*/ 39532 h 580204"/>
                <a:gd name="connsiteX33" fmla="*/ 293942 w 899731"/>
                <a:gd name="connsiteY33" fmla="*/ 61440 h 580204"/>
                <a:gd name="connsiteX34" fmla="*/ 301371 w 899731"/>
                <a:gd name="connsiteY34" fmla="*/ 120304 h 580204"/>
                <a:gd name="connsiteX35" fmla="*/ 292703 w 899731"/>
                <a:gd name="connsiteY35" fmla="*/ 180883 h 580204"/>
                <a:gd name="connsiteX36" fmla="*/ 39719 w 899731"/>
                <a:gd name="connsiteY36" fmla="*/ 343761 h 580204"/>
                <a:gd name="connsiteX37" fmla="*/ 0 w 899731"/>
                <a:gd name="connsiteY37" fmla="*/ 343761 h 580204"/>
                <a:gd name="connsiteX38" fmla="*/ 0 w 899731"/>
                <a:gd name="connsiteY38" fmla="*/ 573028 h 580204"/>
                <a:gd name="connsiteX39" fmla="*/ 38100 w 899731"/>
                <a:gd name="connsiteY39" fmla="*/ 573028 h 580204"/>
                <a:gd name="connsiteX40" fmla="*/ 38100 w 899731"/>
                <a:gd name="connsiteY40" fmla="*/ 506353 h 580204"/>
                <a:gd name="connsiteX41" fmla="*/ 86050 w 899731"/>
                <a:gd name="connsiteY41" fmla="*/ 507034 h 580204"/>
                <a:gd name="connsiteX42" fmla="*/ 93250 w 899731"/>
                <a:gd name="connsiteY42" fmla="*/ 496828 h 580204"/>
                <a:gd name="connsiteX43" fmla="*/ 106871 w 899731"/>
                <a:gd name="connsiteY43" fmla="*/ 432058 h 580204"/>
                <a:gd name="connsiteX44" fmla="*/ 95917 w 899731"/>
                <a:gd name="connsiteY44" fmla="*/ 379670 h 580204"/>
                <a:gd name="connsiteX45" fmla="*/ 39719 w 899731"/>
                <a:gd name="connsiteY45" fmla="*/ 343761 h 580204"/>
                <a:gd name="connsiteX46" fmla="*/ 62960 w 899731"/>
                <a:gd name="connsiteY46" fmla="*/ 468824 h 580204"/>
                <a:gd name="connsiteX47" fmla="*/ 52388 w 899731"/>
                <a:gd name="connsiteY47" fmla="*/ 477682 h 580204"/>
                <a:gd name="connsiteX48" fmla="*/ 42863 w 899731"/>
                <a:gd name="connsiteY48" fmla="*/ 469872 h 580204"/>
                <a:gd name="connsiteX49" fmla="*/ 38386 w 899731"/>
                <a:gd name="connsiteY49" fmla="*/ 445583 h 580204"/>
                <a:gd name="connsiteX50" fmla="*/ 38386 w 899731"/>
                <a:gd name="connsiteY50" fmla="*/ 378051 h 580204"/>
                <a:gd name="connsiteX51" fmla="*/ 39910 w 899731"/>
                <a:gd name="connsiteY51" fmla="*/ 378051 h 580204"/>
                <a:gd name="connsiteX52" fmla="*/ 60389 w 899731"/>
                <a:gd name="connsiteY52" fmla="*/ 392815 h 580204"/>
                <a:gd name="connsiteX53" fmla="*/ 68104 w 899731"/>
                <a:gd name="connsiteY53" fmla="*/ 441678 h 580204"/>
                <a:gd name="connsiteX54" fmla="*/ 62960 w 899731"/>
                <a:gd name="connsiteY54" fmla="*/ 468824 h 580204"/>
                <a:gd name="connsiteX55" fmla="*/ 43053 w 899731"/>
                <a:gd name="connsiteY55" fmla="*/ 44676 h 580204"/>
                <a:gd name="connsiteX56" fmla="*/ 95250 w 899731"/>
                <a:gd name="connsiteY56" fmla="*/ 44676 h 580204"/>
                <a:gd name="connsiteX57" fmla="*/ 95250 w 899731"/>
                <a:gd name="connsiteY57" fmla="*/ 237367 h 580204"/>
                <a:gd name="connsiteX58" fmla="*/ 137731 w 899731"/>
                <a:gd name="connsiteY58" fmla="*/ 237367 h 580204"/>
                <a:gd name="connsiteX59" fmla="*/ 137731 w 899731"/>
                <a:gd name="connsiteY59" fmla="*/ 6576 h 580204"/>
                <a:gd name="connsiteX60" fmla="*/ 571 w 899731"/>
                <a:gd name="connsiteY60" fmla="*/ 6576 h 580204"/>
                <a:gd name="connsiteX61" fmla="*/ 571 w 899731"/>
                <a:gd name="connsiteY61" fmla="*/ 237748 h 580204"/>
                <a:gd name="connsiteX62" fmla="*/ 43053 w 899731"/>
                <a:gd name="connsiteY62" fmla="*/ 237748 h 580204"/>
                <a:gd name="connsiteX63" fmla="*/ 784288 w 899731"/>
                <a:gd name="connsiteY63" fmla="*/ 124591 h 580204"/>
                <a:gd name="connsiteX64" fmla="*/ 837343 w 899731"/>
                <a:gd name="connsiteY64" fmla="*/ 124591 h 580204"/>
                <a:gd name="connsiteX65" fmla="*/ 849249 w 899731"/>
                <a:gd name="connsiteY65" fmla="*/ 237367 h 580204"/>
                <a:gd name="connsiteX66" fmla="*/ 892112 w 899731"/>
                <a:gd name="connsiteY66" fmla="*/ 237367 h 580204"/>
                <a:gd name="connsiteX67" fmla="*/ 872490 w 899731"/>
                <a:gd name="connsiteY67" fmla="*/ 68488 h 580204"/>
                <a:gd name="connsiteX68" fmla="*/ 852202 w 899731"/>
                <a:gd name="connsiteY68" fmla="*/ 19054 h 580204"/>
                <a:gd name="connsiteX69" fmla="*/ 808482 w 899731"/>
                <a:gd name="connsiteY69" fmla="*/ 6576 h 580204"/>
                <a:gd name="connsiteX70" fmla="*/ 745522 w 899731"/>
                <a:gd name="connsiteY70" fmla="*/ 6576 h 580204"/>
                <a:gd name="connsiteX71" fmla="*/ 737711 w 899731"/>
                <a:gd name="connsiteY71" fmla="*/ 237748 h 580204"/>
                <a:gd name="connsiteX72" fmla="*/ 780193 w 899731"/>
                <a:gd name="connsiteY72" fmla="*/ 237748 h 580204"/>
                <a:gd name="connsiteX73" fmla="*/ 786098 w 899731"/>
                <a:gd name="connsiteY73" fmla="*/ 44676 h 580204"/>
                <a:gd name="connsiteX74" fmla="*/ 801529 w 899731"/>
                <a:gd name="connsiteY74" fmla="*/ 44676 h 580204"/>
                <a:gd name="connsiteX75" fmla="*/ 824579 w 899731"/>
                <a:gd name="connsiteY75" fmla="*/ 54772 h 580204"/>
                <a:gd name="connsiteX76" fmla="*/ 832485 w 899731"/>
                <a:gd name="connsiteY76" fmla="*/ 86205 h 580204"/>
                <a:gd name="connsiteX77" fmla="*/ 784860 w 899731"/>
                <a:gd name="connsiteY77" fmla="*/ 86205 h 580204"/>
                <a:gd name="connsiteX78" fmla="*/ 709898 w 899731"/>
                <a:gd name="connsiteY78" fmla="*/ 335474 h 580204"/>
                <a:gd name="connsiteX79" fmla="*/ 624935 w 899731"/>
                <a:gd name="connsiteY79" fmla="*/ 424247 h 580204"/>
                <a:gd name="connsiteX80" fmla="*/ 624935 w 899731"/>
                <a:gd name="connsiteY80" fmla="*/ 343380 h 580204"/>
                <a:gd name="connsiteX81" fmla="*/ 587788 w 899731"/>
                <a:gd name="connsiteY81" fmla="*/ 343380 h 580204"/>
                <a:gd name="connsiteX82" fmla="*/ 587788 w 899731"/>
                <a:gd name="connsiteY82" fmla="*/ 573218 h 580204"/>
                <a:gd name="connsiteX83" fmla="*/ 624935 w 899731"/>
                <a:gd name="connsiteY83" fmla="*/ 573218 h 580204"/>
                <a:gd name="connsiteX84" fmla="*/ 624935 w 899731"/>
                <a:gd name="connsiteY84" fmla="*/ 478825 h 580204"/>
                <a:gd name="connsiteX85" fmla="*/ 678847 w 899731"/>
                <a:gd name="connsiteY85" fmla="*/ 421675 h 580204"/>
                <a:gd name="connsiteX86" fmla="*/ 684276 w 899731"/>
                <a:gd name="connsiteY86" fmla="*/ 573123 h 580204"/>
                <a:gd name="connsiteX87" fmla="*/ 722376 w 899731"/>
                <a:gd name="connsiteY87" fmla="*/ 573123 h 580204"/>
                <a:gd name="connsiteX88" fmla="*/ 712851 w 899731"/>
                <a:gd name="connsiteY88" fmla="*/ 332331 h 580204"/>
                <a:gd name="connsiteX89" fmla="*/ 611981 w 899731"/>
                <a:gd name="connsiteY89" fmla="*/ 237462 h 580204"/>
                <a:gd name="connsiteX90" fmla="*/ 654463 w 899731"/>
                <a:gd name="connsiteY90" fmla="*/ 237462 h 580204"/>
                <a:gd name="connsiteX91" fmla="*/ 654463 w 899731"/>
                <a:gd name="connsiteY91" fmla="*/ 44676 h 580204"/>
                <a:gd name="connsiteX92" fmla="*/ 690277 w 899731"/>
                <a:gd name="connsiteY92" fmla="*/ 44676 h 580204"/>
                <a:gd name="connsiteX93" fmla="*/ 690277 w 899731"/>
                <a:gd name="connsiteY93" fmla="*/ 6576 h 580204"/>
                <a:gd name="connsiteX94" fmla="*/ 576358 w 899731"/>
                <a:gd name="connsiteY94" fmla="*/ 6576 h 580204"/>
                <a:gd name="connsiteX95" fmla="*/ 576358 w 899731"/>
                <a:gd name="connsiteY95" fmla="*/ 44676 h 580204"/>
                <a:gd name="connsiteX96" fmla="*/ 611600 w 899731"/>
                <a:gd name="connsiteY96" fmla="*/ 44676 h 580204"/>
                <a:gd name="connsiteX97" fmla="*/ 890207 w 899731"/>
                <a:gd name="connsiteY97" fmla="*/ 332712 h 580204"/>
                <a:gd name="connsiteX98" fmla="*/ 887254 w 899731"/>
                <a:gd name="connsiteY98" fmla="*/ 335855 h 580204"/>
                <a:gd name="connsiteX99" fmla="*/ 802291 w 899731"/>
                <a:gd name="connsiteY99" fmla="*/ 424628 h 580204"/>
                <a:gd name="connsiteX100" fmla="*/ 802291 w 899731"/>
                <a:gd name="connsiteY100" fmla="*/ 343761 h 580204"/>
                <a:gd name="connsiteX101" fmla="*/ 765143 w 899731"/>
                <a:gd name="connsiteY101" fmla="*/ 343761 h 580204"/>
                <a:gd name="connsiteX102" fmla="*/ 765143 w 899731"/>
                <a:gd name="connsiteY102" fmla="*/ 573599 h 580204"/>
                <a:gd name="connsiteX103" fmla="*/ 802291 w 899731"/>
                <a:gd name="connsiteY103" fmla="*/ 573599 h 580204"/>
                <a:gd name="connsiteX104" fmla="*/ 802291 w 899731"/>
                <a:gd name="connsiteY104" fmla="*/ 479206 h 580204"/>
                <a:gd name="connsiteX105" fmla="*/ 856202 w 899731"/>
                <a:gd name="connsiteY105" fmla="*/ 422056 h 580204"/>
                <a:gd name="connsiteX106" fmla="*/ 861632 w 899731"/>
                <a:gd name="connsiteY106" fmla="*/ 573504 h 580204"/>
                <a:gd name="connsiteX107" fmla="*/ 899732 w 899731"/>
                <a:gd name="connsiteY107" fmla="*/ 573504 h 580204"/>
                <a:gd name="connsiteX108" fmla="*/ 482917 w 899731"/>
                <a:gd name="connsiteY108" fmla="*/ 125829 h 580204"/>
                <a:gd name="connsiteX109" fmla="*/ 482917 w 899731"/>
                <a:gd name="connsiteY109" fmla="*/ 237462 h 580204"/>
                <a:gd name="connsiteX110" fmla="*/ 525399 w 899731"/>
                <a:gd name="connsiteY110" fmla="*/ 237462 h 580204"/>
                <a:gd name="connsiteX111" fmla="*/ 525399 w 899731"/>
                <a:gd name="connsiteY111" fmla="*/ 6576 h 580204"/>
                <a:gd name="connsiteX112" fmla="*/ 482917 w 899731"/>
                <a:gd name="connsiteY112" fmla="*/ 6576 h 580204"/>
                <a:gd name="connsiteX113" fmla="*/ 482917 w 899731"/>
                <a:gd name="connsiteY113" fmla="*/ 87062 h 580204"/>
                <a:gd name="connsiteX114" fmla="*/ 459772 w 899731"/>
                <a:gd name="connsiteY114" fmla="*/ 87062 h 580204"/>
                <a:gd name="connsiteX115" fmla="*/ 438626 w 899731"/>
                <a:gd name="connsiteY115" fmla="*/ 80585 h 580204"/>
                <a:gd name="connsiteX116" fmla="*/ 433768 w 899731"/>
                <a:gd name="connsiteY116" fmla="*/ 68203 h 580204"/>
                <a:gd name="connsiteX117" fmla="*/ 433769 w 899731"/>
                <a:gd name="connsiteY117" fmla="*/ 6576 h 580204"/>
                <a:gd name="connsiteX118" fmla="*/ 391287 w 899731"/>
                <a:gd name="connsiteY118" fmla="*/ 6576 h 580204"/>
                <a:gd name="connsiteX119" fmla="*/ 391287 w 899731"/>
                <a:gd name="connsiteY119" fmla="*/ 72298 h 580204"/>
                <a:gd name="connsiteX120" fmla="*/ 409194 w 899731"/>
                <a:gd name="connsiteY120" fmla="*/ 110398 h 580204"/>
                <a:gd name="connsiteX121" fmla="*/ 451961 w 899731"/>
                <a:gd name="connsiteY121" fmla="*/ 125638 h 580204"/>
                <a:gd name="connsiteX122" fmla="*/ 352044 w 899731"/>
                <a:gd name="connsiteY122" fmla="*/ 516354 h 580204"/>
                <a:gd name="connsiteX123" fmla="*/ 351187 w 899731"/>
                <a:gd name="connsiteY123" fmla="*/ 401292 h 580204"/>
                <a:gd name="connsiteX124" fmla="*/ 406241 w 899731"/>
                <a:gd name="connsiteY124" fmla="*/ 377956 h 580204"/>
                <a:gd name="connsiteX125" fmla="*/ 408051 w 899731"/>
                <a:gd name="connsiteY125" fmla="*/ 377956 h 580204"/>
                <a:gd name="connsiteX126" fmla="*/ 408051 w 899731"/>
                <a:gd name="connsiteY126" fmla="*/ 337855 h 580204"/>
                <a:gd name="connsiteX127" fmla="*/ 406241 w 899731"/>
                <a:gd name="connsiteY127" fmla="*/ 337855 h 580204"/>
                <a:gd name="connsiteX128" fmla="*/ 320516 w 899731"/>
                <a:gd name="connsiteY128" fmla="*/ 372622 h 580204"/>
                <a:gd name="connsiteX129" fmla="*/ 293751 w 899731"/>
                <a:gd name="connsiteY129" fmla="*/ 459109 h 580204"/>
                <a:gd name="connsiteX130" fmla="*/ 322802 w 899731"/>
                <a:gd name="connsiteY130" fmla="*/ 545310 h 580204"/>
                <a:gd name="connsiteX131" fmla="*/ 406908 w 899731"/>
                <a:gd name="connsiteY131" fmla="*/ 580076 h 580204"/>
                <a:gd name="connsiteX132" fmla="*/ 408718 w 899731"/>
                <a:gd name="connsiteY132" fmla="*/ 580076 h 580204"/>
                <a:gd name="connsiteX133" fmla="*/ 408718 w 899731"/>
                <a:gd name="connsiteY133" fmla="*/ 539976 h 580204"/>
                <a:gd name="connsiteX134" fmla="*/ 406908 w 899731"/>
                <a:gd name="connsiteY134" fmla="*/ 539976 h 580204"/>
                <a:gd name="connsiteX135" fmla="*/ 352425 w 899731"/>
                <a:gd name="connsiteY135" fmla="*/ 516354 h 580204"/>
                <a:gd name="connsiteX136" fmla="*/ 494919 w 899731"/>
                <a:gd name="connsiteY136" fmla="*/ 516354 h 580204"/>
                <a:gd name="connsiteX137" fmla="*/ 494062 w 899731"/>
                <a:gd name="connsiteY137" fmla="*/ 401292 h 580204"/>
                <a:gd name="connsiteX138" fmla="*/ 549116 w 899731"/>
                <a:gd name="connsiteY138" fmla="*/ 377956 h 580204"/>
                <a:gd name="connsiteX139" fmla="*/ 550926 w 899731"/>
                <a:gd name="connsiteY139" fmla="*/ 377956 h 580204"/>
                <a:gd name="connsiteX140" fmla="*/ 550926 w 899731"/>
                <a:gd name="connsiteY140" fmla="*/ 337855 h 580204"/>
                <a:gd name="connsiteX141" fmla="*/ 549116 w 899731"/>
                <a:gd name="connsiteY141" fmla="*/ 337855 h 580204"/>
                <a:gd name="connsiteX142" fmla="*/ 463391 w 899731"/>
                <a:gd name="connsiteY142" fmla="*/ 372622 h 580204"/>
                <a:gd name="connsiteX143" fmla="*/ 436626 w 899731"/>
                <a:gd name="connsiteY143" fmla="*/ 459109 h 580204"/>
                <a:gd name="connsiteX144" fmla="*/ 465677 w 899731"/>
                <a:gd name="connsiteY144" fmla="*/ 545310 h 580204"/>
                <a:gd name="connsiteX145" fmla="*/ 549783 w 899731"/>
                <a:gd name="connsiteY145" fmla="*/ 580076 h 580204"/>
                <a:gd name="connsiteX146" fmla="*/ 551593 w 899731"/>
                <a:gd name="connsiteY146" fmla="*/ 580076 h 580204"/>
                <a:gd name="connsiteX147" fmla="*/ 551593 w 899731"/>
                <a:gd name="connsiteY147" fmla="*/ 539976 h 580204"/>
                <a:gd name="connsiteX148" fmla="*/ 549783 w 899731"/>
                <a:gd name="connsiteY148" fmla="*/ 539976 h 580204"/>
                <a:gd name="connsiteX149" fmla="*/ 494443 w 899731"/>
                <a:gd name="connsiteY149" fmla="*/ 516354 h 58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</a:cxnLst>
              <a:rect l="l" t="t" r="r" b="b"/>
              <a:pathLst>
                <a:path w="899731" h="580204">
                  <a:moveTo>
                    <a:pt x="247079" y="371002"/>
                  </a:moveTo>
                  <a:cubicBezTo>
                    <a:pt x="235267" y="349000"/>
                    <a:pt x="218504" y="337855"/>
                    <a:pt x="197263" y="337855"/>
                  </a:cubicBezTo>
                  <a:cubicBezTo>
                    <a:pt x="176022" y="337855"/>
                    <a:pt x="161163" y="349095"/>
                    <a:pt x="149638" y="371193"/>
                  </a:cubicBezTo>
                  <a:cubicBezTo>
                    <a:pt x="137329" y="398039"/>
                    <a:pt x="131520" y="427408"/>
                    <a:pt x="132683" y="456918"/>
                  </a:cubicBezTo>
                  <a:cubicBezTo>
                    <a:pt x="131407" y="486944"/>
                    <a:pt x="136943" y="516870"/>
                    <a:pt x="148876" y="544453"/>
                  </a:cubicBezTo>
                  <a:cubicBezTo>
                    <a:pt x="159829" y="566455"/>
                    <a:pt x="176022" y="577600"/>
                    <a:pt x="197167" y="577600"/>
                  </a:cubicBezTo>
                  <a:cubicBezTo>
                    <a:pt x="218313" y="577600"/>
                    <a:pt x="235267" y="565884"/>
                    <a:pt x="247555" y="542833"/>
                  </a:cubicBezTo>
                  <a:cubicBezTo>
                    <a:pt x="259925" y="515805"/>
                    <a:pt x="265734" y="486236"/>
                    <a:pt x="264509" y="456537"/>
                  </a:cubicBezTo>
                  <a:cubicBezTo>
                    <a:pt x="265724" y="426962"/>
                    <a:pt x="259709" y="397537"/>
                    <a:pt x="246983" y="370812"/>
                  </a:cubicBezTo>
                  <a:close/>
                  <a:moveTo>
                    <a:pt x="219075" y="517783"/>
                  </a:moveTo>
                  <a:cubicBezTo>
                    <a:pt x="214122" y="532927"/>
                    <a:pt x="206788" y="540547"/>
                    <a:pt x="197358" y="540547"/>
                  </a:cubicBezTo>
                  <a:cubicBezTo>
                    <a:pt x="187928" y="540547"/>
                    <a:pt x="181165" y="532737"/>
                    <a:pt x="176117" y="517497"/>
                  </a:cubicBezTo>
                  <a:cubicBezTo>
                    <a:pt x="170434" y="497952"/>
                    <a:pt x="167799" y="477647"/>
                    <a:pt x="168307" y="457299"/>
                  </a:cubicBezTo>
                  <a:cubicBezTo>
                    <a:pt x="167742" y="436986"/>
                    <a:pt x="170344" y="416708"/>
                    <a:pt x="176022" y="397196"/>
                  </a:cubicBezTo>
                  <a:cubicBezTo>
                    <a:pt x="180880" y="382528"/>
                    <a:pt x="188119" y="375003"/>
                    <a:pt x="197358" y="375003"/>
                  </a:cubicBezTo>
                  <a:cubicBezTo>
                    <a:pt x="206597" y="375003"/>
                    <a:pt x="215360" y="382337"/>
                    <a:pt x="220218" y="397482"/>
                  </a:cubicBezTo>
                  <a:cubicBezTo>
                    <a:pt x="225353" y="416793"/>
                    <a:pt x="227600" y="436758"/>
                    <a:pt x="226886" y="456727"/>
                  </a:cubicBezTo>
                  <a:cubicBezTo>
                    <a:pt x="227448" y="477360"/>
                    <a:pt x="224813" y="497956"/>
                    <a:pt x="219075" y="517783"/>
                  </a:cubicBezTo>
                  <a:close/>
                  <a:moveTo>
                    <a:pt x="325469" y="206601"/>
                  </a:moveTo>
                  <a:cubicBezTo>
                    <a:pt x="339269" y="179796"/>
                    <a:pt x="345835" y="149853"/>
                    <a:pt x="344519" y="119733"/>
                  </a:cubicBezTo>
                  <a:cubicBezTo>
                    <a:pt x="345828" y="89759"/>
                    <a:pt x="339051" y="59986"/>
                    <a:pt x="324898" y="33532"/>
                  </a:cubicBezTo>
                  <a:cubicBezTo>
                    <a:pt x="313982" y="12702"/>
                    <a:pt x="292310" y="-249"/>
                    <a:pt x="268796" y="4"/>
                  </a:cubicBezTo>
                  <a:cubicBezTo>
                    <a:pt x="245975" y="93"/>
                    <a:pt x="225201" y="13178"/>
                    <a:pt x="215265" y="33722"/>
                  </a:cubicBezTo>
                  <a:cubicBezTo>
                    <a:pt x="201513" y="60374"/>
                    <a:pt x="194947" y="90150"/>
                    <a:pt x="196215" y="120114"/>
                  </a:cubicBezTo>
                  <a:cubicBezTo>
                    <a:pt x="194832" y="150541"/>
                    <a:pt x="201086" y="180830"/>
                    <a:pt x="214408" y="208220"/>
                  </a:cubicBezTo>
                  <a:cubicBezTo>
                    <a:pt x="224414" y="229089"/>
                    <a:pt x="245655" y="242221"/>
                    <a:pt x="268796" y="241843"/>
                  </a:cubicBezTo>
                  <a:cubicBezTo>
                    <a:pt x="292858" y="241853"/>
                    <a:pt x="314835" y="228186"/>
                    <a:pt x="325469" y="206601"/>
                  </a:cubicBezTo>
                  <a:close/>
                  <a:moveTo>
                    <a:pt x="292608" y="180502"/>
                  </a:moveTo>
                  <a:cubicBezTo>
                    <a:pt x="287084" y="195457"/>
                    <a:pt x="279273" y="202696"/>
                    <a:pt x="268796" y="202696"/>
                  </a:cubicBezTo>
                  <a:cubicBezTo>
                    <a:pt x="258318" y="202696"/>
                    <a:pt x="251174" y="195361"/>
                    <a:pt x="245650" y="180121"/>
                  </a:cubicBezTo>
                  <a:cubicBezTo>
                    <a:pt x="239413" y="161009"/>
                    <a:pt x="236482" y="140974"/>
                    <a:pt x="236982" y="120876"/>
                  </a:cubicBezTo>
                  <a:cubicBezTo>
                    <a:pt x="236354" y="100622"/>
                    <a:pt x="239255" y="80414"/>
                    <a:pt x="245554" y="61154"/>
                  </a:cubicBezTo>
                  <a:cubicBezTo>
                    <a:pt x="250984" y="46581"/>
                    <a:pt x="258604" y="39532"/>
                    <a:pt x="268891" y="39532"/>
                  </a:cubicBezTo>
                  <a:cubicBezTo>
                    <a:pt x="279178" y="39532"/>
                    <a:pt x="288608" y="46676"/>
                    <a:pt x="293942" y="61440"/>
                  </a:cubicBezTo>
                  <a:cubicBezTo>
                    <a:pt x="299650" y="80517"/>
                    <a:pt x="302160" y="100407"/>
                    <a:pt x="301371" y="120304"/>
                  </a:cubicBezTo>
                  <a:cubicBezTo>
                    <a:pt x="301991" y="140846"/>
                    <a:pt x="299058" y="161340"/>
                    <a:pt x="292703" y="180883"/>
                  </a:cubicBezTo>
                  <a:close/>
                  <a:moveTo>
                    <a:pt x="39719" y="343761"/>
                  </a:moveTo>
                  <a:lnTo>
                    <a:pt x="0" y="343761"/>
                  </a:lnTo>
                  <a:lnTo>
                    <a:pt x="0" y="573028"/>
                  </a:lnTo>
                  <a:lnTo>
                    <a:pt x="38100" y="573028"/>
                  </a:lnTo>
                  <a:lnTo>
                    <a:pt x="38100" y="506353"/>
                  </a:lnTo>
                  <a:cubicBezTo>
                    <a:pt x="51153" y="519782"/>
                    <a:pt x="72621" y="520087"/>
                    <a:pt x="86050" y="507034"/>
                  </a:cubicBezTo>
                  <a:cubicBezTo>
                    <a:pt x="89061" y="504107"/>
                    <a:pt x="91502" y="500646"/>
                    <a:pt x="93250" y="496828"/>
                  </a:cubicBezTo>
                  <a:cubicBezTo>
                    <a:pt x="103489" y="476840"/>
                    <a:pt x="108192" y="454476"/>
                    <a:pt x="106871" y="432058"/>
                  </a:cubicBezTo>
                  <a:cubicBezTo>
                    <a:pt x="107206" y="413994"/>
                    <a:pt x="103462" y="396087"/>
                    <a:pt x="95917" y="379670"/>
                  </a:cubicBezTo>
                  <a:cubicBezTo>
                    <a:pt x="86535" y="357127"/>
                    <a:pt x="64117" y="342803"/>
                    <a:pt x="39719" y="343761"/>
                  </a:cubicBezTo>
                  <a:close/>
                  <a:moveTo>
                    <a:pt x="62960" y="468824"/>
                  </a:moveTo>
                  <a:cubicBezTo>
                    <a:pt x="59912" y="474730"/>
                    <a:pt x="56388" y="477682"/>
                    <a:pt x="52388" y="477682"/>
                  </a:cubicBezTo>
                  <a:cubicBezTo>
                    <a:pt x="48387" y="477682"/>
                    <a:pt x="45339" y="475111"/>
                    <a:pt x="42863" y="469872"/>
                  </a:cubicBezTo>
                  <a:cubicBezTo>
                    <a:pt x="39484" y="462240"/>
                    <a:pt x="37950" y="453919"/>
                    <a:pt x="38386" y="445583"/>
                  </a:cubicBezTo>
                  <a:lnTo>
                    <a:pt x="38386" y="378051"/>
                  </a:lnTo>
                  <a:lnTo>
                    <a:pt x="39910" y="378051"/>
                  </a:lnTo>
                  <a:cubicBezTo>
                    <a:pt x="49116" y="378312"/>
                    <a:pt x="57231" y="384163"/>
                    <a:pt x="60389" y="392815"/>
                  </a:cubicBezTo>
                  <a:cubicBezTo>
                    <a:pt x="66458" y="408354"/>
                    <a:pt x="69090" y="425024"/>
                    <a:pt x="68104" y="441678"/>
                  </a:cubicBezTo>
                  <a:cubicBezTo>
                    <a:pt x="68493" y="451001"/>
                    <a:pt x="66733" y="460289"/>
                    <a:pt x="62960" y="468824"/>
                  </a:cubicBezTo>
                  <a:close/>
                  <a:moveTo>
                    <a:pt x="43053" y="44676"/>
                  </a:moveTo>
                  <a:lnTo>
                    <a:pt x="95250" y="44676"/>
                  </a:lnTo>
                  <a:lnTo>
                    <a:pt x="95250" y="237367"/>
                  </a:lnTo>
                  <a:lnTo>
                    <a:pt x="137731" y="237367"/>
                  </a:lnTo>
                  <a:lnTo>
                    <a:pt x="137731" y="6576"/>
                  </a:lnTo>
                  <a:lnTo>
                    <a:pt x="571" y="6576"/>
                  </a:lnTo>
                  <a:lnTo>
                    <a:pt x="571" y="237748"/>
                  </a:lnTo>
                  <a:lnTo>
                    <a:pt x="43053" y="237748"/>
                  </a:lnTo>
                  <a:close/>
                  <a:moveTo>
                    <a:pt x="784288" y="124591"/>
                  </a:moveTo>
                  <a:lnTo>
                    <a:pt x="837343" y="124591"/>
                  </a:lnTo>
                  <a:lnTo>
                    <a:pt x="849249" y="237367"/>
                  </a:lnTo>
                  <a:lnTo>
                    <a:pt x="892112" y="237367"/>
                  </a:lnTo>
                  <a:lnTo>
                    <a:pt x="872490" y="68488"/>
                  </a:lnTo>
                  <a:cubicBezTo>
                    <a:pt x="873996" y="49718"/>
                    <a:pt x="866459" y="31355"/>
                    <a:pt x="852202" y="19054"/>
                  </a:cubicBezTo>
                  <a:cubicBezTo>
                    <a:pt x="839458" y="10072"/>
                    <a:pt x="824047" y="5673"/>
                    <a:pt x="808482" y="6576"/>
                  </a:cubicBezTo>
                  <a:lnTo>
                    <a:pt x="745522" y="6576"/>
                  </a:lnTo>
                  <a:lnTo>
                    <a:pt x="737711" y="237748"/>
                  </a:lnTo>
                  <a:lnTo>
                    <a:pt x="780193" y="237748"/>
                  </a:lnTo>
                  <a:close/>
                  <a:moveTo>
                    <a:pt x="786098" y="44676"/>
                  </a:moveTo>
                  <a:lnTo>
                    <a:pt x="801529" y="44676"/>
                  </a:lnTo>
                  <a:cubicBezTo>
                    <a:pt x="810453" y="43757"/>
                    <a:pt x="819204" y="47590"/>
                    <a:pt x="824579" y="54772"/>
                  </a:cubicBezTo>
                  <a:cubicBezTo>
                    <a:pt x="829309" y="64609"/>
                    <a:pt x="831998" y="75301"/>
                    <a:pt x="832485" y="86205"/>
                  </a:cubicBezTo>
                  <a:lnTo>
                    <a:pt x="784860" y="86205"/>
                  </a:lnTo>
                  <a:close/>
                  <a:moveTo>
                    <a:pt x="709898" y="335474"/>
                  </a:moveTo>
                  <a:lnTo>
                    <a:pt x="624935" y="424247"/>
                  </a:lnTo>
                  <a:lnTo>
                    <a:pt x="624935" y="343380"/>
                  </a:lnTo>
                  <a:lnTo>
                    <a:pt x="587788" y="343380"/>
                  </a:lnTo>
                  <a:lnTo>
                    <a:pt x="587788" y="573218"/>
                  </a:lnTo>
                  <a:lnTo>
                    <a:pt x="624935" y="573218"/>
                  </a:lnTo>
                  <a:lnTo>
                    <a:pt x="624935" y="478825"/>
                  </a:lnTo>
                  <a:lnTo>
                    <a:pt x="678847" y="421675"/>
                  </a:lnTo>
                  <a:lnTo>
                    <a:pt x="684276" y="573123"/>
                  </a:lnTo>
                  <a:lnTo>
                    <a:pt x="722376" y="573123"/>
                  </a:lnTo>
                  <a:lnTo>
                    <a:pt x="712851" y="332331"/>
                  </a:lnTo>
                  <a:close/>
                  <a:moveTo>
                    <a:pt x="611981" y="237462"/>
                  </a:moveTo>
                  <a:lnTo>
                    <a:pt x="654463" y="237462"/>
                  </a:lnTo>
                  <a:lnTo>
                    <a:pt x="654463" y="44676"/>
                  </a:lnTo>
                  <a:lnTo>
                    <a:pt x="690277" y="44676"/>
                  </a:lnTo>
                  <a:lnTo>
                    <a:pt x="690277" y="6576"/>
                  </a:lnTo>
                  <a:lnTo>
                    <a:pt x="576358" y="6576"/>
                  </a:lnTo>
                  <a:lnTo>
                    <a:pt x="576358" y="44676"/>
                  </a:lnTo>
                  <a:lnTo>
                    <a:pt x="611600" y="44676"/>
                  </a:lnTo>
                  <a:close/>
                  <a:moveTo>
                    <a:pt x="890207" y="332712"/>
                  </a:moveTo>
                  <a:lnTo>
                    <a:pt x="887254" y="335855"/>
                  </a:lnTo>
                  <a:lnTo>
                    <a:pt x="802291" y="424628"/>
                  </a:lnTo>
                  <a:lnTo>
                    <a:pt x="802291" y="343761"/>
                  </a:lnTo>
                  <a:lnTo>
                    <a:pt x="765143" y="343761"/>
                  </a:lnTo>
                  <a:lnTo>
                    <a:pt x="765143" y="573599"/>
                  </a:lnTo>
                  <a:lnTo>
                    <a:pt x="802291" y="573599"/>
                  </a:lnTo>
                  <a:lnTo>
                    <a:pt x="802291" y="479206"/>
                  </a:lnTo>
                  <a:lnTo>
                    <a:pt x="856202" y="422056"/>
                  </a:lnTo>
                  <a:cubicBezTo>
                    <a:pt x="856202" y="430343"/>
                    <a:pt x="861632" y="573504"/>
                    <a:pt x="861632" y="573504"/>
                  </a:cubicBezTo>
                  <a:lnTo>
                    <a:pt x="899732" y="573504"/>
                  </a:lnTo>
                  <a:close/>
                  <a:moveTo>
                    <a:pt x="482917" y="125829"/>
                  </a:moveTo>
                  <a:lnTo>
                    <a:pt x="482917" y="237462"/>
                  </a:lnTo>
                  <a:lnTo>
                    <a:pt x="525399" y="237462"/>
                  </a:lnTo>
                  <a:lnTo>
                    <a:pt x="525399" y="6576"/>
                  </a:lnTo>
                  <a:lnTo>
                    <a:pt x="482917" y="6576"/>
                  </a:lnTo>
                  <a:lnTo>
                    <a:pt x="482917" y="87062"/>
                  </a:lnTo>
                  <a:lnTo>
                    <a:pt x="459772" y="87062"/>
                  </a:lnTo>
                  <a:cubicBezTo>
                    <a:pt x="452155" y="87684"/>
                    <a:pt x="444588" y="85366"/>
                    <a:pt x="438626" y="80585"/>
                  </a:cubicBezTo>
                  <a:cubicBezTo>
                    <a:pt x="435287" y="77358"/>
                    <a:pt x="433514" y="72839"/>
                    <a:pt x="433768" y="68203"/>
                  </a:cubicBezTo>
                  <a:lnTo>
                    <a:pt x="433769" y="6576"/>
                  </a:lnTo>
                  <a:lnTo>
                    <a:pt x="391287" y="6576"/>
                  </a:lnTo>
                  <a:lnTo>
                    <a:pt x="391287" y="72298"/>
                  </a:lnTo>
                  <a:cubicBezTo>
                    <a:pt x="391171" y="87056"/>
                    <a:pt x="397757" y="101070"/>
                    <a:pt x="409194" y="110398"/>
                  </a:cubicBezTo>
                  <a:cubicBezTo>
                    <a:pt x="421081" y="120581"/>
                    <a:pt x="436314" y="126009"/>
                    <a:pt x="451961" y="125638"/>
                  </a:cubicBezTo>
                  <a:close/>
                  <a:moveTo>
                    <a:pt x="352044" y="516354"/>
                  </a:moveTo>
                  <a:cubicBezTo>
                    <a:pt x="328064" y="481845"/>
                    <a:pt x="327724" y="436155"/>
                    <a:pt x="351187" y="401292"/>
                  </a:cubicBezTo>
                  <a:cubicBezTo>
                    <a:pt x="364826" y="385259"/>
                    <a:pt x="385235" y="376608"/>
                    <a:pt x="406241" y="377956"/>
                  </a:cubicBezTo>
                  <a:lnTo>
                    <a:pt x="408051" y="377956"/>
                  </a:lnTo>
                  <a:lnTo>
                    <a:pt x="408051" y="337855"/>
                  </a:lnTo>
                  <a:lnTo>
                    <a:pt x="406241" y="337855"/>
                  </a:lnTo>
                  <a:cubicBezTo>
                    <a:pt x="368808" y="337855"/>
                    <a:pt x="339566" y="349571"/>
                    <a:pt x="320516" y="372622"/>
                  </a:cubicBezTo>
                  <a:cubicBezTo>
                    <a:pt x="302800" y="393481"/>
                    <a:pt x="293751" y="422628"/>
                    <a:pt x="293751" y="459109"/>
                  </a:cubicBezTo>
                  <a:cubicBezTo>
                    <a:pt x="292392" y="490453"/>
                    <a:pt x="302748" y="521182"/>
                    <a:pt x="322802" y="545310"/>
                  </a:cubicBezTo>
                  <a:cubicBezTo>
                    <a:pt x="344232" y="568887"/>
                    <a:pt x="375086" y="581641"/>
                    <a:pt x="406908" y="580076"/>
                  </a:cubicBezTo>
                  <a:lnTo>
                    <a:pt x="408718" y="580076"/>
                  </a:lnTo>
                  <a:lnTo>
                    <a:pt x="408718" y="539976"/>
                  </a:lnTo>
                  <a:lnTo>
                    <a:pt x="406908" y="539976"/>
                  </a:lnTo>
                  <a:cubicBezTo>
                    <a:pt x="386068" y="540967"/>
                    <a:pt x="365946" y="532243"/>
                    <a:pt x="352425" y="516354"/>
                  </a:cubicBezTo>
                  <a:close/>
                  <a:moveTo>
                    <a:pt x="494919" y="516354"/>
                  </a:moveTo>
                  <a:cubicBezTo>
                    <a:pt x="470939" y="481845"/>
                    <a:pt x="470599" y="436155"/>
                    <a:pt x="494062" y="401292"/>
                  </a:cubicBezTo>
                  <a:cubicBezTo>
                    <a:pt x="507701" y="385259"/>
                    <a:pt x="528110" y="376608"/>
                    <a:pt x="549116" y="377956"/>
                  </a:cubicBezTo>
                  <a:lnTo>
                    <a:pt x="550926" y="377956"/>
                  </a:lnTo>
                  <a:lnTo>
                    <a:pt x="550926" y="337855"/>
                  </a:lnTo>
                  <a:lnTo>
                    <a:pt x="549116" y="337855"/>
                  </a:lnTo>
                  <a:cubicBezTo>
                    <a:pt x="511683" y="337855"/>
                    <a:pt x="482441" y="349571"/>
                    <a:pt x="463391" y="372622"/>
                  </a:cubicBezTo>
                  <a:cubicBezTo>
                    <a:pt x="445675" y="393481"/>
                    <a:pt x="436626" y="422628"/>
                    <a:pt x="436626" y="459109"/>
                  </a:cubicBezTo>
                  <a:cubicBezTo>
                    <a:pt x="435267" y="490453"/>
                    <a:pt x="445623" y="521182"/>
                    <a:pt x="465677" y="545310"/>
                  </a:cubicBezTo>
                  <a:cubicBezTo>
                    <a:pt x="487107" y="568887"/>
                    <a:pt x="517961" y="581641"/>
                    <a:pt x="549783" y="580076"/>
                  </a:cubicBezTo>
                  <a:lnTo>
                    <a:pt x="551593" y="580076"/>
                  </a:lnTo>
                  <a:lnTo>
                    <a:pt x="551593" y="539976"/>
                  </a:lnTo>
                  <a:lnTo>
                    <a:pt x="549783" y="539976"/>
                  </a:lnTo>
                  <a:cubicBezTo>
                    <a:pt x="528649" y="541239"/>
                    <a:pt x="508150" y="532490"/>
                    <a:pt x="494443" y="51635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20" name="Прямая соединительная линия 19">
            <a:extLst>
              <a:ext uri="{FF2B5EF4-FFF2-40B4-BE49-F238E27FC236}">
                <a16:creationId xmlns="" xmlns:a16="http://schemas.microsoft.com/office/drawing/2014/main" id="{743C5332-9ACA-418C-BE7B-9AA09BF08BC6}"/>
              </a:ext>
            </a:extLst>
          </p:cNvPr>
          <p:cNvCxnSpPr>
            <a:cxnSpLocks/>
          </p:cNvCxnSpPr>
          <p:nvPr userDrawn="1"/>
        </p:nvCxnSpPr>
        <p:spPr>
          <a:xfrm>
            <a:off x="821190" y="2241322"/>
            <a:ext cx="0" cy="3626078"/>
          </a:xfrm>
          <a:prstGeom prst="line">
            <a:avLst/>
          </a:prstGeom>
          <a:ln w="12700">
            <a:solidFill>
              <a:schemeClr val="bg1">
                <a:lumMod val="75000"/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>
            <a:extLst>
              <a:ext uri="{FF2B5EF4-FFF2-40B4-BE49-F238E27FC236}">
                <a16:creationId xmlns="" xmlns:a16="http://schemas.microsoft.com/office/drawing/2014/main" id="{25744AD9-A404-4997-B58E-93F91CF38D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1691" y="2923453"/>
            <a:ext cx="4260340" cy="20969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54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не более 3 строк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="" xmlns:a16="http://schemas.microsoft.com/office/drawing/2014/main" id="{E4543A4C-000C-4826-B0FE-937834585B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1690" y="5270803"/>
            <a:ext cx="5452475" cy="441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Укажите название подразделения</a:t>
            </a:r>
          </a:p>
        </p:txBody>
      </p:sp>
    </p:spTree>
    <p:extLst>
      <p:ext uri="{BB962C8B-B14F-4D97-AF65-F5344CB8AC3E}">
        <p14:creationId xmlns:p14="http://schemas.microsoft.com/office/powerpoint/2010/main" val="3973543453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184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4">
            <a:extLst>
              <a:ext uri="{FF2B5EF4-FFF2-40B4-BE49-F238E27FC236}">
                <a16:creationId xmlns="" xmlns:a16="http://schemas.microsoft.com/office/drawing/2014/main" id="{0C70D044-7C81-4DA5-98E5-E5A35C369DF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Объект 2" hidden="1">
            <a:extLst>
              <a:ext uri="{FF2B5EF4-FFF2-40B4-BE49-F238E27FC236}">
                <a16:creationId xmlns="" xmlns:a16="http://schemas.microsoft.com/office/drawing/2014/main" id="{E9681B9B-C3B0-4FEF-88E7-2047B2DC87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51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63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="" xmlns:a16="http://schemas.microsoft.com/office/drawing/2014/main" id="{E9681B9B-C3B0-4FEF-88E7-2047B2DC8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6A444D67-F8CE-4F7C-A73B-78C309C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9D5186-85BD-4647-9A01-8226F56382D2}" type="slidenum">
              <a:rPr lang="ru-RU" smtClean="0"/>
              <a:t>‹#›</a:t>
            </a:fld>
            <a:endParaRPr lang="ru-RU"/>
          </a:p>
        </p:txBody>
      </p:sp>
      <p:grpSp>
        <p:nvGrpSpPr>
          <p:cNvPr id="26" name="Группа 25">
            <a:extLst>
              <a:ext uri="{FF2B5EF4-FFF2-40B4-BE49-F238E27FC236}">
                <a16:creationId xmlns="" xmlns:a16="http://schemas.microsoft.com/office/drawing/2014/main" id="{6E3DB81A-CBB7-443D-B186-3B9B9AC5FE43}"/>
              </a:ext>
            </a:extLst>
          </p:cNvPr>
          <p:cNvGrpSpPr/>
          <p:nvPr userDrawn="1"/>
        </p:nvGrpSpPr>
        <p:grpSpPr>
          <a:xfrm rot="5400000">
            <a:off x="-1060690" y="461365"/>
            <a:ext cx="1291830" cy="369097"/>
            <a:chOff x="632155" y="5349213"/>
            <a:chExt cx="3360373" cy="960114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="" xmlns:a16="http://schemas.microsoft.com/office/drawing/2014/main" id="{6BAE129E-D062-4C70-B6FC-760E6A2666DD}"/>
                </a:ext>
              </a:extLst>
            </p:cNvPr>
            <p:cNvSpPr/>
            <p:nvPr/>
          </p:nvSpPr>
          <p:spPr>
            <a:xfrm>
              <a:off x="632155" y="5349213"/>
              <a:ext cx="960107" cy="96010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="" xmlns:a16="http://schemas.microsoft.com/office/drawing/2014/main" id="{FAF0D6FB-4AAE-45BB-A6D2-F4BCD8309BE0}"/>
                </a:ext>
              </a:extLst>
            </p:cNvPr>
            <p:cNvSpPr/>
            <p:nvPr/>
          </p:nvSpPr>
          <p:spPr>
            <a:xfrm>
              <a:off x="1592261" y="5349213"/>
              <a:ext cx="960107" cy="960107"/>
            </a:xfrm>
            <a:prstGeom prst="rect">
              <a:avLst/>
            </a:prstGeom>
            <a:solidFill>
              <a:srgbClr val="2C56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="" xmlns:a16="http://schemas.microsoft.com/office/drawing/2014/main" id="{4F1717D7-EBA6-4A8E-BB2A-AC4B6AE5EB83}"/>
                </a:ext>
              </a:extLst>
            </p:cNvPr>
            <p:cNvSpPr/>
            <p:nvPr/>
          </p:nvSpPr>
          <p:spPr>
            <a:xfrm>
              <a:off x="2552368" y="5349213"/>
              <a:ext cx="960106" cy="960107"/>
            </a:xfrm>
            <a:prstGeom prst="rect">
              <a:avLst/>
            </a:prstGeom>
            <a:solidFill>
              <a:srgbClr val="F7A8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="" xmlns:a16="http://schemas.microsoft.com/office/drawing/2014/main" id="{08A2A0FD-8B3F-4359-B9EE-A79DF170B018}"/>
                </a:ext>
              </a:extLst>
            </p:cNvPr>
            <p:cNvSpPr/>
            <p:nvPr/>
          </p:nvSpPr>
          <p:spPr>
            <a:xfrm>
              <a:off x="3512475" y="5349213"/>
              <a:ext cx="480053" cy="48005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="" xmlns:a16="http://schemas.microsoft.com/office/drawing/2014/main" id="{0683CCA6-DEC1-4ED2-B94A-C55E2E6003BC}"/>
                </a:ext>
              </a:extLst>
            </p:cNvPr>
            <p:cNvSpPr/>
            <p:nvPr/>
          </p:nvSpPr>
          <p:spPr>
            <a:xfrm>
              <a:off x="3512475" y="5829274"/>
              <a:ext cx="480053" cy="4800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="" xmlns:a16="http://schemas.microsoft.com/office/drawing/2014/main" id="{4C520701-7495-4B13-86E4-38EE20190262}"/>
              </a:ext>
            </a:extLst>
          </p:cNvPr>
          <p:cNvGrpSpPr/>
          <p:nvPr userDrawn="1"/>
        </p:nvGrpSpPr>
        <p:grpSpPr>
          <a:xfrm rot="5400000">
            <a:off x="-1337511" y="2738906"/>
            <a:ext cx="1845470" cy="369094"/>
            <a:chOff x="6299597" y="4435281"/>
            <a:chExt cx="4800534" cy="960107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="" xmlns:a16="http://schemas.microsoft.com/office/drawing/2014/main" id="{C7B47708-1020-49F7-ADB6-91749C55E30D}"/>
                </a:ext>
              </a:extLst>
            </p:cNvPr>
            <p:cNvSpPr/>
            <p:nvPr userDrawn="1"/>
          </p:nvSpPr>
          <p:spPr>
            <a:xfrm>
              <a:off x="6299597" y="4435281"/>
              <a:ext cx="960107" cy="960107"/>
            </a:xfrm>
            <a:prstGeom prst="rect">
              <a:avLst/>
            </a:prstGeom>
            <a:solidFill>
              <a:srgbClr val="B915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="" xmlns:a16="http://schemas.microsoft.com/office/drawing/2014/main" id="{749BABDC-9464-4A3E-BF45-EBC8B9627330}"/>
                </a:ext>
              </a:extLst>
            </p:cNvPr>
            <p:cNvSpPr/>
            <p:nvPr userDrawn="1"/>
          </p:nvSpPr>
          <p:spPr>
            <a:xfrm>
              <a:off x="7259704" y="4435281"/>
              <a:ext cx="960106" cy="960107"/>
            </a:xfrm>
            <a:prstGeom prst="rect">
              <a:avLst/>
            </a:prstGeom>
            <a:solidFill>
              <a:srgbClr val="6ACC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2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="" xmlns:a16="http://schemas.microsoft.com/office/drawing/2014/main" id="{B30FF824-93C5-4FAA-91D0-5C09F24EE519}"/>
                </a:ext>
              </a:extLst>
            </p:cNvPr>
            <p:cNvSpPr/>
            <p:nvPr userDrawn="1"/>
          </p:nvSpPr>
          <p:spPr>
            <a:xfrm>
              <a:off x="8219810" y="4435281"/>
              <a:ext cx="960107" cy="960107"/>
            </a:xfrm>
            <a:prstGeom prst="rect">
              <a:avLst/>
            </a:prstGeom>
            <a:solidFill>
              <a:srgbClr val="6597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="" xmlns:a16="http://schemas.microsoft.com/office/drawing/2014/main" id="{289F46DB-D319-443D-A23C-391724686A0A}"/>
                </a:ext>
              </a:extLst>
            </p:cNvPr>
            <p:cNvSpPr/>
            <p:nvPr userDrawn="1"/>
          </p:nvSpPr>
          <p:spPr>
            <a:xfrm>
              <a:off x="9179917" y="4435281"/>
              <a:ext cx="960107" cy="960107"/>
            </a:xfrm>
            <a:prstGeom prst="rect">
              <a:avLst/>
            </a:prstGeom>
            <a:solidFill>
              <a:srgbClr val="FFEE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="" xmlns:a16="http://schemas.microsoft.com/office/drawing/2014/main" id="{0CA4C897-3B83-4BE5-94BB-89ACC0A28CED}"/>
                </a:ext>
              </a:extLst>
            </p:cNvPr>
            <p:cNvSpPr/>
            <p:nvPr userDrawn="1"/>
          </p:nvSpPr>
          <p:spPr>
            <a:xfrm>
              <a:off x="10140024" y="4435281"/>
              <a:ext cx="960107" cy="960107"/>
            </a:xfrm>
            <a:prstGeom prst="rect">
              <a:avLst/>
            </a:prstGeom>
            <a:solidFill>
              <a:srgbClr val="B07A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="" xmlns:a16="http://schemas.microsoft.com/office/drawing/2014/main" id="{F1073788-E706-4033-BAA2-5EFD99305210}"/>
                </a:ext>
              </a:extLst>
            </p:cNvPr>
            <p:cNvSpPr/>
            <p:nvPr userDrawn="1"/>
          </p:nvSpPr>
          <p:spPr>
            <a:xfrm>
              <a:off x="7739756" y="4435281"/>
              <a:ext cx="480053" cy="960107"/>
            </a:xfrm>
            <a:prstGeom prst="rect">
              <a:avLst/>
            </a:prstGeom>
            <a:solidFill>
              <a:srgbClr val="3EBB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9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="" xmlns:a16="http://schemas.microsoft.com/office/drawing/2014/main" id="{7D015FAF-9277-44C4-A83B-CD45506FB431}"/>
              </a:ext>
            </a:extLst>
          </p:cNvPr>
          <p:cNvGrpSpPr/>
          <p:nvPr userDrawn="1"/>
        </p:nvGrpSpPr>
        <p:grpSpPr>
          <a:xfrm>
            <a:off x="821190" y="777648"/>
            <a:ext cx="1233487" cy="1233592"/>
            <a:chOff x="5547741" y="2881978"/>
            <a:chExt cx="1100232" cy="1100328"/>
          </a:xfrm>
        </p:grpSpPr>
        <p:sp>
          <p:nvSpPr>
            <p:cNvPr id="18" name="Полилиния: фигура 17">
              <a:extLst>
                <a:ext uri="{FF2B5EF4-FFF2-40B4-BE49-F238E27FC236}">
                  <a16:creationId xmlns="" xmlns:a16="http://schemas.microsoft.com/office/drawing/2014/main" id="{1367E1D7-415A-4D7D-B462-1974D23D34EB}"/>
                </a:ext>
              </a:extLst>
            </p:cNvPr>
            <p:cNvSpPr/>
            <p:nvPr/>
          </p:nvSpPr>
          <p:spPr>
            <a:xfrm>
              <a:off x="5547741" y="2881978"/>
              <a:ext cx="1100232" cy="1100328"/>
            </a:xfrm>
            <a:custGeom>
              <a:avLst/>
              <a:gdLst>
                <a:gd name="connsiteX0" fmla="*/ 1056894 w 1100232"/>
                <a:gd name="connsiteY0" fmla="*/ 0 h 1100328"/>
                <a:gd name="connsiteX1" fmla="*/ 1100233 w 1100232"/>
                <a:gd name="connsiteY1" fmla="*/ 43339 h 1100328"/>
                <a:gd name="connsiteX2" fmla="*/ 1100233 w 1100232"/>
                <a:gd name="connsiteY2" fmla="*/ 1056989 h 1100328"/>
                <a:gd name="connsiteX3" fmla="*/ 1056894 w 1100232"/>
                <a:gd name="connsiteY3" fmla="*/ 1100328 h 1100328"/>
                <a:gd name="connsiteX4" fmla="*/ 43339 w 1100232"/>
                <a:gd name="connsiteY4" fmla="*/ 1100328 h 1100328"/>
                <a:gd name="connsiteX5" fmla="*/ 0 w 1100232"/>
                <a:gd name="connsiteY5" fmla="*/ 1056989 h 1100328"/>
                <a:gd name="connsiteX6" fmla="*/ 0 w 1100232"/>
                <a:gd name="connsiteY6" fmla="*/ 43339 h 1100328"/>
                <a:gd name="connsiteX7" fmla="*/ 43339 w 1100232"/>
                <a:gd name="connsiteY7" fmla="*/ 0 h 110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0232" h="1100328">
                  <a:moveTo>
                    <a:pt x="1056894" y="0"/>
                  </a:moveTo>
                  <a:cubicBezTo>
                    <a:pt x="1080829" y="0"/>
                    <a:pt x="1100233" y="19403"/>
                    <a:pt x="1100233" y="43339"/>
                  </a:cubicBezTo>
                  <a:lnTo>
                    <a:pt x="1100233" y="1056989"/>
                  </a:lnTo>
                  <a:cubicBezTo>
                    <a:pt x="1100233" y="1080925"/>
                    <a:pt x="1080829" y="1100328"/>
                    <a:pt x="1056894" y="1100328"/>
                  </a:cubicBezTo>
                  <a:lnTo>
                    <a:pt x="43339" y="1100328"/>
                  </a:lnTo>
                  <a:cubicBezTo>
                    <a:pt x="19403" y="1100328"/>
                    <a:pt x="0" y="1080925"/>
                    <a:pt x="0" y="1056989"/>
                  </a:cubicBezTo>
                  <a:lnTo>
                    <a:pt x="0" y="43339"/>
                  </a:lnTo>
                  <a:cubicBezTo>
                    <a:pt x="0" y="19403"/>
                    <a:pt x="19403" y="0"/>
                    <a:pt x="43339" y="0"/>
                  </a:cubicBezTo>
                  <a:close/>
                </a:path>
              </a:pathLst>
            </a:custGeom>
            <a:solidFill>
              <a:srgbClr val="1937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="" xmlns:a16="http://schemas.microsoft.com/office/drawing/2014/main" id="{4ED1C9C3-6803-4825-B834-C2CFBC292E20}"/>
                </a:ext>
              </a:extLst>
            </p:cNvPr>
            <p:cNvSpPr/>
            <p:nvPr/>
          </p:nvSpPr>
          <p:spPr>
            <a:xfrm>
              <a:off x="5648325" y="3141436"/>
              <a:ext cx="899731" cy="580204"/>
            </a:xfrm>
            <a:custGeom>
              <a:avLst/>
              <a:gdLst>
                <a:gd name="connsiteX0" fmla="*/ 247079 w 899731"/>
                <a:gd name="connsiteY0" fmla="*/ 371002 h 580204"/>
                <a:gd name="connsiteX1" fmla="*/ 197263 w 899731"/>
                <a:gd name="connsiteY1" fmla="*/ 337855 h 580204"/>
                <a:gd name="connsiteX2" fmla="*/ 149638 w 899731"/>
                <a:gd name="connsiteY2" fmla="*/ 371193 h 580204"/>
                <a:gd name="connsiteX3" fmla="*/ 132683 w 899731"/>
                <a:gd name="connsiteY3" fmla="*/ 456918 h 580204"/>
                <a:gd name="connsiteX4" fmla="*/ 148876 w 899731"/>
                <a:gd name="connsiteY4" fmla="*/ 544453 h 580204"/>
                <a:gd name="connsiteX5" fmla="*/ 197167 w 899731"/>
                <a:gd name="connsiteY5" fmla="*/ 577600 h 580204"/>
                <a:gd name="connsiteX6" fmla="*/ 247555 w 899731"/>
                <a:gd name="connsiteY6" fmla="*/ 542833 h 580204"/>
                <a:gd name="connsiteX7" fmla="*/ 264509 w 899731"/>
                <a:gd name="connsiteY7" fmla="*/ 456537 h 580204"/>
                <a:gd name="connsiteX8" fmla="*/ 246983 w 899731"/>
                <a:gd name="connsiteY8" fmla="*/ 370812 h 580204"/>
                <a:gd name="connsiteX9" fmla="*/ 219075 w 899731"/>
                <a:gd name="connsiteY9" fmla="*/ 517783 h 580204"/>
                <a:gd name="connsiteX10" fmla="*/ 197358 w 899731"/>
                <a:gd name="connsiteY10" fmla="*/ 540547 h 580204"/>
                <a:gd name="connsiteX11" fmla="*/ 176117 w 899731"/>
                <a:gd name="connsiteY11" fmla="*/ 517497 h 580204"/>
                <a:gd name="connsiteX12" fmla="*/ 168307 w 899731"/>
                <a:gd name="connsiteY12" fmla="*/ 457299 h 580204"/>
                <a:gd name="connsiteX13" fmla="*/ 176022 w 899731"/>
                <a:gd name="connsiteY13" fmla="*/ 397196 h 580204"/>
                <a:gd name="connsiteX14" fmla="*/ 197358 w 899731"/>
                <a:gd name="connsiteY14" fmla="*/ 375003 h 580204"/>
                <a:gd name="connsiteX15" fmla="*/ 220218 w 899731"/>
                <a:gd name="connsiteY15" fmla="*/ 397482 h 580204"/>
                <a:gd name="connsiteX16" fmla="*/ 226886 w 899731"/>
                <a:gd name="connsiteY16" fmla="*/ 456727 h 580204"/>
                <a:gd name="connsiteX17" fmla="*/ 219075 w 899731"/>
                <a:gd name="connsiteY17" fmla="*/ 517783 h 580204"/>
                <a:gd name="connsiteX18" fmla="*/ 325469 w 899731"/>
                <a:gd name="connsiteY18" fmla="*/ 206601 h 580204"/>
                <a:gd name="connsiteX19" fmla="*/ 344519 w 899731"/>
                <a:gd name="connsiteY19" fmla="*/ 119733 h 580204"/>
                <a:gd name="connsiteX20" fmla="*/ 324898 w 899731"/>
                <a:gd name="connsiteY20" fmla="*/ 33532 h 580204"/>
                <a:gd name="connsiteX21" fmla="*/ 268796 w 899731"/>
                <a:gd name="connsiteY21" fmla="*/ 4 h 580204"/>
                <a:gd name="connsiteX22" fmla="*/ 215265 w 899731"/>
                <a:gd name="connsiteY22" fmla="*/ 33722 h 580204"/>
                <a:gd name="connsiteX23" fmla="*/ 196215 w 899731"/>
                <a:gd name="connsiteY23" fmla="*/ 120114 h 580204"/>
                <a:gd name="connsiteX24" fmla="*/ 214408 w 899731"/>
                <a:gd name="connsiteY24" fmla="*/ 208220 h 580204"/>
                <a:gd name="connsiteX25" fmla="*/ 268796 w 899731"/>
                <a:gd name="connsiteY25" fmla="*/ 241843 h 580204"/>
                <a:gd name="connsiteX26" fmla="*/ 325469 w 899731"/>
                <a:gd name="connsiteY26" fmla="*/ 206601 h 580204"/>
                <a:gd name="connsiteX27" fmla="*/ 292608 w 899731"/>
                <a:gd name="connsiteY27" fmla="*/ 180502 h 580204"/>
                <a:gd name="connsiteX28" fmla="*/ 268796 w 899731"/>
                <a:gd name="connsiteY28" fmla="*/ 202696 h 580204"/>
                <a:gd name="connsiteX29" fmla="*/ 245650 w 899731"/>
                <a:gd name="connsiteY29" fmla="*/ 180121 h 580204"/>
                <a:gd name="connsiteX30" fmla="*/ 236982 w 899731"/>
                <a:gd name="connsiteY30" fmla="*/ 120876 h 580204"/>
                <a:gd name="connsiteX31" fmla="*/ 245554 w 899731"/>
                <a:gd name="connsiteY31" fmla="*/ 61154 h 580204"/>
                <a:gd name="connsiteX32" fmla="*/ 268891 w 899731"/>
                <a:gd name="connsiteY32" fmla="*/ 39532 h 580204"/>
                <a:gd name="connsiteX33" fmla="*/ 293942 w 899731"/>
                <a:gd name="connsiteY33" fmla="*/ 61440 h 580204"/>
                <a:gd name="connsiteX34" fmla="*/ 301371 w 899731"/>
                <a:gd name="connsiteY34" fmla="*/ 120304 h 580204"/>
                <a:gd name="connsiteX35" fmla="*/ 292703 w 899731"/>
                <a:gd name="connsiteY35" fmla="*/ 180883 h 580204"/>
                <a:gd name="connsiteX36" fmla="*/ 39719 w 899731"/>
                <a:gd name="connsiteY36" fmla="*/ 343761 h 580204"/>
                <a:gd name="connsiteX37" fmla="*/ 0 w 899731"/>
                <a:gd name="connsiteY37" fmla="*/ 343761 h 580204"/>
                <a:gd name="connsiteX38" fmla="*/ 0 w 899731"/>
                <a:gd name="connsiteY38" fmla="*/ 573028 h 580204"/>
                <a:gd name="connsiteX39" fmla="*/ 38100 w 899731"/>
                <a:gd name="connsiteY39" fmla="*/ 573028 h 580204"/>
                <a:gd name="connsiteX40" fmla="*/ 38100 w 899731"/>
                <a:gd name="connsiteY40" fmla="*/ 506353 h 580204"/>
                <a:gd name="connsiteX41" fmla="*/ 86050 w 899731"/>
                <a:gd name="connsiteY41" fmla="*/ 507034 h 580204"/>
                <a:gd name="connsiteX42" fmla="*/ 93250 w 899731"/>
                <a:gd name="connsiteY42" fmla="*/ 496828 h 580204"/>
                <a:gd name="connsiteX43" fmla="*/ 106871 w 899731"/>
                <a:gd name="connsiteY43" fmla="*/ 432058 h 580204"/>
                <a:gd name="connsiteX44" fmla="*/ 95917 w 899731"/>
                <a:gd name="connsiteY44" fmla="*/ 379670 h 580204"/>
                <a:gd name="connsiteX45" fmla="*/ 39719 w 899731"/>
                <a:gd name="connsiteY45" fmla="*/ 343761 h 580204"/>
                <a:gd name="connsiteX46" fmla="*/ 62960 w 899731"/>
                <a:gd name="connsiteY46" fmla="*/ 468824 h 580204"/>
                <a:gd name="connsiteX47" fmla="*/ 52388 w 899731"/>
                <a:gd name="connsiteY47" fmla="*/ 477682 h 580204"/>
                <a:gd name="connsiteX48" fmla="*/ 42863 w 899731"/>
                <a:gd name="connsiteY48" fmla="*/ 469872 h 580204"/>
                <a:gd name="connsiteX49" fmla="*/ 38386 w 899731"/>
                <a:gd name="connsiteY49" fmla="*/ 445583 h 580204"/>
                <a:gd name="connsiteX50" fmla="*/ 38386 w 899731"/>
                <a:gd name="connsiteY50" fmla="*/ 378051 h 580204"/>
                <a:gd name="connsiteX51" fmla="*/ 39910 w 899731"/>
                <a:gd name="connsiteY51" fmla="*/ 378051 h 580204"/>
                <a:gd name="connsiteX52" fmla="*/ 60389 w 899731"/>
                <a:gd name="connsiteY52" fmla="*/ 392815 h 580204"/>
                <a:gd name="connsiteX53" fmla="*/ 68104 w 899731"/>
                <a:gd name="connsiteY53" fmla="*/ 441678 h 580204"/>
                <a:gd name="connsiteX54" fmla="*/ 62960 w 899731"/>
                <a:gd name="connsiteY54" fmla="*/ 468824 h 580204"/>
                <a:gd name="connsiteX55" fmla="*/ 43053 w 899731"/>
                <a:gd name="connsiteY55" fmla="*/ 44676 h 580204"/>
                <a:gd name="connsiteX56" fmla="*/ 95250 w 899731"/>
                <a:gd name="connsiteY56" fmla="*/ 44676 h 580204"/>
                <a:gd name="connsiteX57" fmla="*/ 95250 w 899731"/>
                <a:gd name="connsiteY57" fmla="*/ 237367 h 580204"/>
                <a:gd name="connsiteX58" fmla="*/ 137731 w 899731"/>
                <a:gd name="connsiteY58" fmla="*/ 237367 h 580204"/>
                <a:gd name="connsiteX59" fmla="*/ 137731 w 899731"/>
                <a:gd name="connsiteY59" fmla="*/ 6576 h 580204"/>
                <a:gd name="connsiteX60" fmla="*/ 571 w 899731"/>
                <a:gd name="connsiteY60" fmla="*/ 6576 h 580204"/>
                <a:gd name="connsiteX61" fmla="*/ 571 w 899731"/>
                <a:gd name="connsiteY61" fmla="*/ 237748 h 580204"/>
                <a:gd name="connsiteX62" fmla="*/ 43053 w 899731"/>
                <a:gd name="connsiteY62" fmla="*/ 237748 h 580204"/>
                <a:gd name="connsiteX63" fmla="*/ 784288 w 899731"/>
                <a:gd name="connsiteY63" fmla="*/ 124591 h 580204"/>
                <a:gd name="connsiteX64" fmla="*/ 837343 w 899731"/>
                <a:gd name="connsiteY64" fmla="*/ 124591 h 580204"/>
                <a:gd name="connsiteX65" fmla="*/ 849249 w 899731"/>
                <a:gd name="connsiteY65" fmla="*/ 237367 h 580204"/>
                <a:gd name="connsiteX66" fmla="*/ 892112 w 899731"/>
                <a:gd name="connsiteY66" fmla="*/ 237367 h 580204"/>
                <a:gd name="connsiteX67" fmla="*/ 872490 w 899731"/>
                <a:gd name="connsiteY67" fmla="*/ 68488 h 580204"/>
                <a:gd name="connsiteX68" fmla="*/ 852202 w 899731"/>
                <a:gd name="connsiteY68" fmla="*/ 19054 h 580204"/>
                <a:gd name="connsiteX69" fmla="*/ 808482 w 899731"/>
                <a:gd name="connsiteY69" fmla="*/ 6576 h 580204"/>
                <a:gd name="connsiteX70" fmla="*/ 745522 w 899731"/>
                <a:gd name="connsiteY70" fmla="*/ 6576 h 580204"/>
                <a:gd name="connsiteX71" fmla="*/ 737711 w 899731"/>
                <a:gd name="connsiteY71" fmla="*/ 237748 h 580204"/>
                <a:gd name="connsiteX72" fmla="*/ 780193 w 899731"/>
                <a:gd name="connsiteY72" fmla="*/ 237748 h 580204"/>
                <a:gd name="connsiteX73" fmla="*/ 786098 w 899731"/>
                <a:gd name="connsiteY73" fmla="*/ 44676 h 580204"/>
                <a:gd name="connsiteX74" fmla="*/ 801529 w 899731"/>
                <a:gd name="connsiteY74" fmla="*/ 44676 h 580204"/>
                <a:gd name="connsiteX75" fmla="*/ 824579 w 899731"/>
                <a:gd name="connsiteY75" fmla="*/ 54772 h 580204"/>
                <a:gd name="connsiteX76" fmla="*/ 832485 w 899731"/>
                <a:gd name="connsiteY76" fmla="*/ 86205 h 580204"/>
                <a:gd name="connsiteX77" fmla="*/ 784860 w 899731"/>
                <a:gd name="connsiteY77" fmla="*/ 86205 h 580204"/>
                <a:gd name="connsiteX78" fmla="*/ 709898 w 899731"/>
                <a:gd name="connsiteY78" fmla="*/ 335474 h 580204"/>
                <a:gd name="connsiteX79" fmla="*/ 624935 w 899731"/>
                <a:gd name="connsiteY79" fmla="*/ 424247 h 580204"/>
                <a:gd name="connsiteX80" fmla="*/ 624935 w 899731"/>
                <a:gd name="connsiteY80" fmla="*/ 343380 h 580204"/>
                <a:gd name="connsiteX81" fmla="*/ 587788 w 899731"/>
                <a:gd name="connsiteY81" fmla="*/ 343380 h 580204"/>
                <a:gd name="connsiteX82" fmla="*/ 587788 w 899731"/>
                <a:gd name="connsiteY82" fmla="*/ 573218 h 580204"/>
                <a:gd name="connsiteX83" fmla="*/ 624935 w 899731"/>
                <a:gd name="connsiteY83" fmla="*/ 573218 h 580204"/>
                <a:gd name="connsiteX84" fmla="*/ 624935 w 899731"/>
                <a:gd name="connsiteY84" fmla="*/ 478825 h 580204"/>
                <a:gd name="connsiteX85" fmla="*/ 678847 w 899731"/>
                <a:gd name="connsiteY85" fmla="*/ 421675 h 580204"/>
                <a:gd name="connsiteX86" fmla="*/ 684276 w 899731"/>
                <a:gd name="connsiteY86" fmla="*/ 573123 h 580204"/>
                <a:gd name="connsiteX87" fmla="*/ 722376 w 899731"/>
                <a:gd name="connsiteY87" fmla="*/ 573123 h 580204"/>
                <a:gd name="connsiteX88" fmla="*/ 712851 w 899731"/>
                <a:gd name="connsiteY88" fmla="*/ 332331 h 580204"/>
                <a:gd name="connsiteX89" fmla="*/ 611981 w 899731"/>
                <a:gd name="connsiteY89" fmla="*/ 237462 h 580204"/>
                <a:gd name="connsiteX90" fmla="*/ 654463 w 899731"/>
                <a:gd name="connsiteY90" fmla="*/ 237462 h 580204"/>
                <a:gd name="connsiteX91" fmla="*/ 654463 w 899731"/>
                <a:gd name="connsiteY91" fmla="*/ 44676 h 580204"/>
                <a:gd name="connsiteX92" fmla="*/ 690277 w 899731"/>
                <a:gd name="connsiteY92" fmla="*/ 44676 h 580204"/>
                <a:gd name="connsiteX93" fmla="*/ 690277 w 899731"/>
                <a:gd name="connsiteY93" fmla="*/ 6576 h 580204"/>
                <a:gd name="connsiteX94" fmla="*/ 576358 w 899731"/>
                <a:gd name="connsiteY94" fmla="*/ 6576 h 580204"/>
                <a:gd name="connsiteX95" fmla="*/ 576358 w 899731"/>
                <a:gd name="connsiteY95" fmla="*/ 44676 h 580204"/>
                <a:gd name="connsiteX96" fmla="*/ 611600 w 899731"/>
                <a:gd name="connsiteY96" fmla="*/ 44676 h 580204"/>
                <a:gd name="connsiteX97" fmla="*/ 890207 w 899731"/>
                <a:gd name="connsiteY97" fmla="*/ 332712 h 580204"/>
                <a:gd name="connsiteX98" fmla="*/ 887254 w 899731"/>
                <a:gd name="connsiteY98" fmla="*/ 335855 h 580204"/>
                <a:gd name="connsiteX99" fmla="*/ 802291 w 899731"/>
                <a:gd name="connsiteY99" fmla="*/ 424628 h 580204"/>
                <a:gd name="connsiteX100" fmla="*/ 802291 w 899731"/>
                <a:gd name="connsiteY100" fmla="*/ 343761 h 580204"/>
                <a:gd name="connsiteX101" fmla="*/ 765143 w 899731"/>
                <a:gd name="connsiteY101" fmla="*/ 343761 h 580204"/>
                <a:gd name="connsiteX102" fmla="*/ 765143 w 899731"/>
                <a:gd name="connsiteY102" fmla="*/ 573599 h 580204"/>
                <a:gd name="connsiteX103" fmla="*/ 802291 w 899731"/>
                <a:gd name="connsiteY103" fmla="*/ 573599 h 580204"/>
                <a:gd name="connsiteX104" fmla="*/ 802291 w 899731"/>
                <a:gd name="connsiteY104" fmla="*/ 479206 h 580204"/>
                <a:gd name="connsiteX105" fmla="*/ 856202 w 899731"/>
                <a:gd name="connsiteY105" fmla="*/ 422056 h 580204"/>
                <a:gd name="connsiteX106" fmla="*/ 861632 w 899731"/>
                <a:gd name="connsiteY106" fmla="*/ 573504 h 580204"/>
                <a:gd name="connsiteX107" fmla="*/ 899732 w 899731"/>
                <a:gd name="connsiteY107" fmla="*/ 573504 h 580204"/>
                <a:gd name="connsiteX108" fmla="*/ 482917 w 899731"/>
                <a:gd name="connsiteY108" fmla="*/ 125829 h 580204"/>
                <a:gd name="connsiteX109" fmla="*/ 482917 w 899731"/>
                <a:gd name="connsiteY109" fmla="*/ 237462 h 580204"/>
                <a:gd name="connsiteX110" fmla="*/ 525399 w 899731"/>
                <a:gd name="connsiteY110" fmla="*/ 237462 h 580204"/>
                <a:gd name="connsiteX111" fmla="*/ 525399 w 899731"/>
                <a:gd name="connsiteY111" fmla="*/ 6576 h 580204"/>
                <a:gd name="connsiteX112" fmla="*/ 482917 w 899731"/>
                <a:gd name="connsiteY112" fmla="*/ 6576 h 580204"/>
                <a:gd name="connsiteX113" fmla="*/ 482917 w 899731"/>
                <a:gd name="connsiteY113" fmla="*/ 87062 h 580204"/>
                <a:gd name="connsiteX114" fmla="*/ 459772 w 899731"/>
                <a:gd name="connsiteY114" fmla="*/ 87062 h 580204"/>
                <a:gd name="connsiteX115" fmla="*/ 438626 w 899731"/>
                <a:gd name="connsiteY115" fmla="*/ 80585 h 580204"/>
                <a:gd name="connsiteX116" fmla="*/ 433768 w 899731"/>
                <a:gd name="connsiteY116" fmla="*/ 68203 h 580204"/>
                <a:gd name="connsiteX117" fmla="*/ 433769 w 899731"/>
                <a:gd name="connsiteY117" fmla="*/ 6576 h 580204"/>
                <a:gd name="connsiteX118" fmla="*/ 391287 w 899731"/>
                <a:gd name="connsiteY118" fmla="*/ 6576 h 580204"/>
                <a:gd name="connsiteX119" fmla="*/ 391287 w 899731"/>
                <a:gd name="connsiteY119" fmla="*/ 72298 h 580204"/>
                <a:gd name="connsiteX120" fmla="*/ 409194 w 899731"/>
                <a:gd name="connsiteY120" fmla="*/ 110398 h 580204"/>
                <a:gd name="connsiteX121" fmla="*/ 451961 w 899731"/>
                <a:gd name="connsiteY121" fmla="*/ 125638 h 580204"/>
                <a:gd name="connsiteX122" fmla="*/ 352044 w 899731"/>
                <a:gd name="connsiteY122" fmla="*/ 516354 h 580204"/>
                <a:gd name="connsiteX123" fmla="*/ 351187 w 899731"/>
                <a:gd name="connsiteY123" fmla="*/ 401292 h 580204"/>
                <a:gd name="connsiteX124" fmla="*/ 406241 w 899731"/>
                <a:gd name="connsiteY124" fmla="*/ 377956 h 580204"/>
                <a:gd name="connsiteX125" fmla="*/ 408051 w 899731"/>
                <a:gd name="connsiteY125" fmla="*/ 377956 h 580204"/>
                <a:gd name="connsiteX126" fmla="*/ 408051 w 899731"/>
                <a:gd name="connsiteY126" fmla="*/ 337855 h 580204"/>
                <a:gd name="connsiteX127" fmla="*/ 406241 w 899731"/>
                <a:gd name="connsiteY127" fmla="*/ 337855 h 580204"/>
                <a:gd name="connsiteX128" fmla="*/ 320516 w 899731"/>
                <a:gd name="connsiteY128" fmla="*/ 372622 h 580204"/>
                <a:gd name="connsiteX129" fmla="*/ 293751 w 899731"/>
                <a:gd name="connsiteY129" fmla="*/ 459109 h 580204"/>
                <a:gd name="connsiteX130" fmla="*/ 322802 w 899731"/>
                <a:gd name="connsiteY130" fmla="*/ 545310 h 580204"/>
                <a:gd name="connsiteX131" fmla="*/ 406908 w 899731"/>
                <a:gd name="connsiteY131" fmla="*/ 580076 h 580204"/>
                <a:gd name="connsiteX132" fmla="*/ 408718 w 899731"/>
                <a:gd name="connsiteY132" fmla="*/ 580076 h 580204"/>
                <a:gd name="connsiteX133" fmla="*/ 408718 w 899731"/>
                <a:gd name="connsiteY133" fmla="*/ 539976 h 580204"/>
                <a:gd name="connsiteX134" fmla="*/ 406908 w 899731"/>
                <a:gd name="connsiteY134" fmla="*/ 539976 h 580204"/>
                <a:gd name="connsiteX135" fmla="*/ 352425 w 899731"/>
                <a:gd name="connsiteY135" fmla="*/ 516354 h 580204"/>
                <a:gd name="connsiteX136" fmla="*/ 494919 w 899731"/>
                <a:gd name="connsiteY136" fmla="*/ 516354 h 580204"/>
                <a:gd name="connsiteX137" fmla="*/ 494062 w 899731"/>
                <a:gd name="connsiteY137" fmla="*/ 401292 h 580204"/>
                <a:gd name="connsiteX138" fmla="*/ 549116 w 899731"/>
                <a:gd name="connsiteY138" fmla="*/ 377956 h 580204"/>
                <a:gd name="connsiteX139" fmla="*/ 550926 w 899731"/>
                <a:gd name="connsiteY139" fmla="*/ 377956 h 580204"/>
                <a:gd name="connsiteX140" fmla="*/ 550926 w 899731"/>
                <a:gd name="connsiteY140" fmla="*/ 337855 h 580204"/>
                <a:gd name="connsiteX141" fmla="*/ 549116 w 899731"/>
                <a:gd name="connsiteY141" fmla="*/ 337855 h 580204"/>
                <a:gd name="connsiteX142" fmla="*/ 463391 w 899731"/>
                <a:gd name="connsiteY142" fmla="*/ 372622 h 580204"/>
                <a:gd name="connsiteX143" fmla="*/ 436626 w 899731"/>
                <a:gd name="connsiteY143" fmla="*/ 459109 h 580204"/>
                <a:gd name="connsiteX144" fmla="*/ 465677 w 899731"/>
                <a:gd name="connsiteY144" fmla="*/ 545310 h 580204"/>
                <a:gd name="connsiteX145" fmla="*/ 549783 w 899731"/>
                <a:gd name="connsiteY145" fmla="*/ 580076 h 580204"/>
                <a:gd name="connsiteX146" fmla="*/ 551593 w 899731"/>
                <a:gd name="connsiteY146" fmla="*/ 580076 h 580204"/>
                <a:gd name="connsiteX147" fmla="*/ 551593 w 899731"/>
                <a:gd name="connsiteY147" fmla="*/ 539976 h 580204"/>
                <a:gd name="connsiteX148" fmla="*/ 549783 w 899731"/>
                <a:gd name="connsiteY148" fmla="*/ 539976 h 580204"/>
                <a:gd name="connsiteX149" fmla="*/ 494443 w 899731"/>
                <a:gd name="connsiteY149" fmla="*/ 516354 h 58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</a:cxnLst>
              <a:rect l="l" t="t" r="r" b="b"/>
              <a:pathLst>
                <a:path w="899731" h="580204">
                  <a:moveTo>
                    <a:pt x="247079" y="371002"/>
                  </a:moveTo>
                  <a:cubicBezTo>
                    <a:pt x="235267" y="349000"/>
                    <a:pt x="218504" y="337855"/>
                    <a:pt x="197263" y="337855"/>
                  </a:cubicBezTo>
                  <a:cubicBezTo>
                    <a:pt x="176022" y="337855"/>
                    <a:pt x="161163" y="349095"/>
                    <a:pt x="149638" y="371193"/>
                  </a:cubicBezTo>
                  <a:cubicBezTo>
                    <a:pt x="137329" y="398039"/>
                    <a:pt x="131520" y="427408"/>
                    <a:pt x="132683" y="456918"/>
                  </a:cubicBezTo>
                  <a:cubicBezTo>
                    <a:pt x="131407" y="486944"/>
                    <a:pt x="136943" y="516870"/>
                    <a:pt x="148876" y="544453"/>
                  </a:cubicBezTo>
                  <a:cubicBezTo>
                    <a:pt x="159829" y="566455"/>
                    <a:pt x="176022" y="577600"/>
                    <a:pt x="197167" y="577600"/>
                  </a:cubicBezTo>
                  <a:cubicBezTo>
                    <a:pt x="218313" y="577600"/>
                    <a:pt x="235267" y="565884"/>
                    <a:pt x="247555" y="542833"/>
                  </a:cubicBezTo>
                  <a:cubicBezTo>
                    <a:pt x="259925" y="515805"/>
                    <a:pt x="265734" y="486236"/>
                    <a:pt x="264509" y="456537"/>
                  </a:cubicBezTo>
                  <a:cubicBezTo>
                    <a:pt x="265724" y="426962"/>
                    <a:pt x="259709" y="397537"/>
                    <a:pt x="246983" y="370812"/>
                  </a:cubicBezTo>
                  <a:close/>
                  <a:moveTo>
                    <a:pt x="219075" y="517783"/>
                  </a:moveTo>
                  <a:cubicBezTo>
                    <a:pt x="214122" y="532927"/>
                    <a:pt x="206788" y="540547"/>
                    <a:pt x="197358" y="540547"/>
                  </a:cubicBezTo>
                  <a:cubicBezTo>
                    <a:pt x="187928" y="540547"/>
                    <a:pt x="181165" y="532737"/>
                    <a:pt x="176117" y="517497"/>
                  </a:cubicBezTo>
                  <a:cubicBezTo>
                    <a:pt x="170434" y="497952"/>
                    <a:pt x="167799" y="477647"/>
                    <a:pt x="168307" y="457299"/>
                  </a:cubicBezTo>
                  <a:cubicBezTo>
                    <a:pt x="167742" y="436986"/>
                    <a:pt x="170344" y="416708"/>
                    <a:pt x="176022" y="397196"/>
                  </a:cubicBezTo>
                  <a:cubicBezTo>
                    <a:pt x="180880" y="382528"/>
                    <a:pt x="188119" y="375003"/>
                    <a:pt x="197358" y="375003"/>
                  </a:cubicBezTo>
                  <a:cubicBezTo>
                    <a:pt x="206597" y="375003"/>
                    <a:pt x="215360" y="382337"/>
                    <a:pt x="220218" y="397482"/>
                  </a:cubicBezTo>
                  <a:cubicBezTo>
                    <a:pt x="225353" y="416793"/>
                    <a:pt x="227600" y="436758"/>
                    <a:pt x="226886" y="456727"/>
                  </a:cubicBezTo>
                  <a:cubicBezTo>
                    <a:pt x="227448" y="477360"/>
                    <a:pt x="224813" y="497956"/>
                    <a:pt x="219075" y="517783"/>
                  </a:cubicBezTo>
                  <a:close/>
                  <a:moveTo>
                    <a:pt x="325469" y="206601"/>
                  </a:moveTo>
                  <a:cubicBezTo>
                    <a:pt x="339269" y="179796"/>
                    <a:pt x="345835" y="149853"/>
                    <a:pt x="344519" y="119733"/>
                  </a:cubicBezTo>
                  <a:cubicBezTo>
                    <a:pt x="345828" y="89759"/>
                    <a:pt x="339051" y="59986"/>
                    <a:pt x="324898" y="33532"/>
                  </a:cubicBezTo>
                  <a:cubicBezTo>
                    <a:pt x="313982" y="12702"/>
                    <a:pt x="292310" y="-249"/>
                    <a:pt x="268796" y="4"/>
                  </a:cubicBezTo>
                  <a:cubicBezTo>
                    <a:pt x="245975" y="93"/>
                    <a:pt x="225201" y="13178"/>
                    <a:pt x="215265" y="33722"/>
                  </a:cubicBezTo>
                  <a:cubicBezTo>
                    <a:pt x="201513" y="60374"/>
                    <a:pt x="194947" y="90150"/>
                    <a:pt x="196215" y="120114"/>
                  </a:cubicBezTo>
                  <a:cubicBezTo>
                    <a:pt x="194832" y="150541"/>
                    <a:pt x="201086" y="180830"/>
                    <a:pt x="214408" y="208220"/>
                  </a:cubicBezTo>
                  <a:cubicBezTo>
                    <a:pt x="224414" y="229089"/>
                    <a:pt x="245655" y="242221"/>
                    <a:pt x="268796" y="241843"/>
                  </a:cubicBezTo>
                  <a:cubicBezTo>
                    <a:pt x="292858" y="241853"/>
                    <a:pt x="314835" y="228186"/>
                    <a:pt x="325469" y="206601"/>
                  </a:cubicBezTo>
                  <a:close/>
                  <a:moveTo>
                    <a:pt x="292608" y="180502"/>
                  </a:moveTo>
                  <a:cubicBezTo>
                    <a:pt x="287084" y="195457"/>
                    <a:pt x="279273" y="202696"/>
                    <a:pt x="268796" y="202696"/>
                  </a:cubicBezTo>
                  <a:cubicBezTo>
                    <a:pt x="258318" y="202696"/>
                    <a:pt x="251174" y="195361"/>
                    <a:pt x="245650" y="180121"/>
                  </a:cubicBezTo>
                  <a:cubicBezTo>
                    <a:pt x="239413" y="161009"/>
                    <a:pt x="236482" y="140974"/>
                    <a:pt x="236982" y="120876"/>
                  </a:cubicBezTo>
                  <a:cubicBezTo>
                    <a:pt x="236354" y="100622"/>
                    <a:pt x="239255" y="80414"/>
                    <a:pt x="245554" y="61154"/>
                  </a:cubicBezTo>
                  <a:cubicBezTo>
                    <a:pt x="250984" y="46581"/>
                    <a:pt x="258604" y="39532"/>
                    <a:pt x="268891" y="39532"/>
                  </a:cubicBezTo>
                  <a:cubicBezTo>
                    <a:pt x="279178" y="39532"/>
                    <a:pt x="288608" y="46676"/>
                    <a:pt x="293942" y="61440"/>
                  </a:cubicBezTo>
                  <a:cubicBezTo>
                    <a:pt x="299650" y="80517"/>
                    <a:pt x="302160" y="100407"/>
                    <a:pt x="301371" y="120304"/>
                  </a:cubicBezTo>
                  <a:cubicBezTo>
                    <a:pt x="301991" y="140846"/>
                    <a:pt x="299058" y="161340"/>
                    <a:pt x="292703" y="180883"/>
                  </a:cubicBezTo>
                  <a:close/>
                  <a:moveTo>
                    <a:pt x="39719" y="343761"/>
                  </a:moveTo>
                  <a:lnTo>
                    <a:pt x="0" y="343761"/>
                  </a:lnTo>
                  <a:lnTo>
                    <a:pt x="0" y="573028"/>
                  </a:lnTo>
                  <a:lnTo>
                    <a:pt x="38100" y="573028"/>
                  </a:lnTo>
                  <a:lnTo>
                    <a:pt x="38100" y="506353"/>
                  </a:lnTo>
                  <a:cubicBezTo>
                    <a:pt x="51153" y="519782"/>
                    <a:pt x="72621" y="520087"/>
                    <a:pt x="86050" y="507034"/>
                  </a:cubicBezTo>
                  <a:cubicBezTo>
                    <a:pt x="89061" y="504107"/>
                    <a:pt x="91502" y="500646"/>
                    <a:pt x="93250" y="496828"/>
                  </a:cubicBezTo>
                  <a:cubicBezTo>
                    <a:pt x="103489" y="476840"/>
                    <a:pt x="108192" y="454476"/>
                    <a:pt x="106871" y="432058"/>
                  </a:cubicBezTo>
                  <a:cubicBezTo>
                    <a:pt x="107206" y="413994"/>
                    <a:pt x="103462" y="396087"/>
                    <a:pt x="95917" y="379670"/>
                  </a:cubicBezTo>
                  <a:cubicBezTo>
                    <a:pt x="86535" y="357127"/>
                    <a:pt x="64117" y="342803"/>
                    <a:pt x="39719" y="343761"/>
                  </a:cubicBezTo>
                  <a:close/>
                  <a:moveTo>
                    <a:pt x="62960" y="468824"/>
                  </a:moveTo>
                  <a:cubicBezTo>
                    <a:pt x="59912" y="474730"/>
                    <a:pt x="56388" y="477682"/>
                    <a:pt x="52388" y="477682"/>
                  </a:cubicBezTo>
                  <a:cubicBezTo>
                    <a:pt x="48387" y="477682"/>
                    <a:pt x="45339" y="475111"/>
                    <a:pt x="42863" y="469872"/>
                  </a:cubicBezTo>
                  <a:cubicBezTo>
                    <a:pt x="39484" y="462240"/>
                    <a:pt x="37950" y="453919"/>
                    <a:pt x="38386" y="445583"/>
                  </a:cubicBezTo>
                  <a:lnTo>
                    <a:pt x="38386" y="378051"/>
                  </a:lnTo>
                  <a:lnTo>
                    <a:pt x="39910" y="378051"/>
                  </a:lnTo>
                  <a:cubicBezTo>
                    <a:pt x="49116" y="378312"/>
                    <a:pt x="57231" y="384163"/>
                    <a:pt x="60389" y="392815"/>
                  </a:cubicBezTo>
                  <a:cubicBezTo>
                    <a:pt x="66458" y="408354"/>
                    <a:pt x="69090" y="425024"/>
                    <a:pt x="68104" y="441678"/>
                  </a:cubicBezTo>
                  <a:cubicBezTo>
                    <a:pt x="68493" y="451001"/>
                    <a:pt x="66733" y="460289"/>
                    <a:pt x="62960" y="468824"/>
                  </a:cubicBezTo>
                  <a:close/>
                  <a:moveTo>
                    <a:pt x="43053" y="44676"/>
                  </a:moveTo>
                  <a:lnTo>
                    <a:pt x="95250" y="44676"/>
                  </a:lnTo>
                  <a:lnTo>
                    <a:pt x="95250" y="237367"/>
                  </a:lnTo>
                  <a:lnTo>
                    <a:pt x="137731" y="237367"/>
                  </a:lnTo>
                  <a:lnTo>
                    <a:pt x="137731" y="6576"/>
                  </a:lnTo>
                  <a:lnTo>
                    <a:pt x="571" y="6576"/>
                  </a:lnTo>
                  <a:lnTo>
                    <a:pt x="571" y="237748"/>
                  </a:lnTo>
                  <a:lnTo>
                    <a:pt x="43053" y="237748"/>
                  </a:lnTo>
                  <a:close/>
                  <a:moveTo>
                    <a:pt x="784288" y="124591"/>
                  </a:moveTo>
                  <a:lnTo>
                    <a:pt x="837343" y="124591"/>
                  </a:lnTo>
                  <a:lnTo>
                    <a:pt x="849249" y="237367"/>
                  </a:lnTo>
                  <a:lnTo>
                    <a:pt x="892112" y="237367"/>
                  </a:lnTo>
                  <a:lnTo>
                    <a:pt x="872490" y="68488"/>
                  </a:lnTo>
                  <a:cubicBezTo>
                    <a:pt x="873996" y="49718"/>
                    <a:pt x="866459" y="31355"/>
                    <a:pt x="852202" y="19054"/>
                  </a:cubicBezTo>
                  <a:cubicBezTo>
                    <a:pt x="839458" y="10072"/>
                    <a:pt x="824047" y="5673"/>
                    <a:pt x="808482" y="6576"/>
                  </a:cubicBezTo>
                  <a:lnTo>
                    <a:pt x="745522" y="6576"/>
                  </a:lnTo>
                  <a:lnTo>
                    <a:pt x="737711" y="237748"/>
                  </a:lnTo>
                  <a:lnTo>
                    <a:pt x="780193" y="237748"/>
                  </a:lnTo>
                  <a:close/>
                  <a:moveTo>
                    <a:pt x="786098" y="44676"/>
                  </a:moveTo>
                  <a:lnTo>
                    <a:pt x="801529" y="44676"/>
                  </a:lnTo>
                  <a:cubicBezTo>
                    <a:pt x="810453" y="43757"/>
                    <a:pt x="819204" y="47590"/>
                    <a:pt x="824579" y="54772"/>
                  </a:cubicBezTo>
                  <a:cubicBezTo>
                    <a:pt x="829309" y="64609"/>
                    <a:pt x="831998" y="75301"/>
                    <a:pt x="832485" y="86205"/>
                  </a:cubicBezTo>
                  <a:lnTo>
                    <a:pt x="784860" y="86205"/>
                  </a:lnTo>
                  <a:close/>
                  <a:moveTo>
                    <a:pt x="709898" y="335474"/>
                  </a:moveTo>
                  <a:lnTo>
                    <a:pt x="624935" y="424247"/>
                  </a:lnTo>
                  <a:lnTo>
                    <a:pt x="624935" y="343380"/>
                  </a:lnTo>
                  <a:lnTo>
                    <a:pt x="587788" y="343380"/>
                  </a:lnTo>
                  <a:lnTo>
                    <a:pt x="587788" y="573218"/>
                  </a:lnTo>
                  <a:lnTo>
                    <a:pt x="624935" y="573218"/>
                  </a:lnTo>
                  <a:lnTo>
                    <a:pt x="624935" y="478825"/>
                  </a:lnTo>
                  <a:lnTo>
                    <a:pt x="678847" y="421675"/>
                  </a:lnTo>
                  <a:lnTo>
                    <a:pt x="684276" y="573123"/>
                  </a:lnTo>
                  <a:lnTo>
                    <a:pt x="722376" y="573123"/>
                  </a:lnTo>
                  <a:lnTo>
                    <a:pt x="712851" y="332331"/>
                  </a:lnTo>
                  <a:close/>
                  <a:moveTo>
                    <a:pt x="611981" y="237462"/>
                  </a:moveTo>
                  <a:lnTo>
                    <a:pt x="654463" y="237462"/>
                  </a:lnTo>
                  <a:lnTo>
                    <a:pt x="654463" y="44676"/>
                  </a:lnTo>
                  <a:lnTo>
                    <a:pt x="690277" y="44676"/>
                  </a:lnTo>
                  <a:lnTo>
                    <a:pt x="690277" y="6576"/>
                  </a:lnTo>
                  <a:lnTo>
                    <a:pt x="576358" y="6576"/>
                  </a:lnTo>
                  <a:lnTo>
                    <a:pt x="576358" y="44676"/>
                  </a:lnTo>
                  <a:lnTo>
                    <a:pt x="611600" y="44676"/>
                  </a:lnTo>
                  <a:close/>
                  <a:moveTo>
                    <a:pt x="890207" y="332712"/>
                  </a:moveTo>
                  <a:lnTo>
                    <a:pt x="887254" y="335855"/>
                  </a:lnTo>
                  <a:lnTo>
                    <a:pt x="802291" y="424628"/>
                  </a:lnTo>
                  <a:lnTo>
                    <a:pt x="802291" y="343761"/>
                  </a:lnTo>
                  <a:lnTo>
                    <a:pt x="765143" y="343761"/>
                  </a:lnTo>
                  <a:lnTo>
                    <a:pt x="765143" y="573599"/>
                  </a:lnTo>
                  <a:lnTo>
                    <a:pt x="802291" y="573599"/>
                  </a:lnTo>
                  <a:lnTo>
                    <a:pt x="802291" y="479206"/>
                  </a:lnTo>
                  <a:lnTo>
                    <a:pt x="856202" y="422056"/>
                  </a:lnTo>
                  <a:cubicBezTo>
                    <a:pt x="856202" y="430343"/>
                    <a:pt x="861632" y="573504"/>
                    <a:pt x="861632" y="573504"/>
                  </a:cubicBezTo>
                  <a:lnTo>
                    <a:pt x="899732" y="573504"/>
                  </a:lnTo>
                  <a:close/>
                  <a:moveTo>
                    <a:pt x="482917" y="125829"/>
                  </a:moveTo>
                  <a:lnTo>
                    <a:pt x="482917" y="237462"/>
                  </a:lnTo>
                  <a:lnTo>
                    <a:pt x="525399" y="237462"/>
                  </a:lnTo>
                  <a:lnTo>
                    <a:pt x="525399" y="6576"/>
                  </a:lnTo>
                  <a:lnTo>
                    <a:pt x="482917" y="6576"/>
                  </a:lnTo>
                  <a:lnTo>
                    <a:pt x="482917" y="87062"/>
                  </a:lnTo>
                  <a:lnTo>
                    <a:pt x="459772" y="87062"/>
                  </a:lnTo>
                  <a:cubicBezTo>
                    <a:pt x="452155" y="87684"/>
                    <a:pt x="444588" y="85366"/>
                    <a:pt x="438626" y="80585"/>
                  </a:cubicBezTo>
                  <a:cubicBezTo>
                    <a:pt x="435287" y="77358"/>
                    <a:pt x="433514" y="72839"/>
                    <a:pt x="433768" y="68203"/>
                  </a:cubicBezTo>
                  <a:lnTo>
                    <a:pt x="433769" y="6576"/>
                  </a:lnTo>
                  <a:lnTo>
                    <a:pt x="391287" y="6576"/>
                  </a:lnTo>
                  <a:lnTo>
                    <a:pt x="391287" y="72298"/>
                  </a:lnTo>
                  <a:cubicBezTo>
                    <a:pt x="391171" y="87056"/>
                    <a:pt x="397757" y="101070"/>
                    <a:pt x="409194" y="110398"/>
                  </a:cubicBezTo>
                  <a:cubicBezTo>
                    <a:pt x="421081" y="120581"/>
                    <a:pt x="436314" y="126009"/>
                    <a:pt x="451961" y="125638"/>
                  </a:cubicBezTo>
                  <a:close/>
                  <a:moveTo>
                    <a:pt x="352044" y="516354"/>
                  </a:moveTo>
                  <a:cubicBezTo>
                    <a:pt x="328064" y="481845"/>
                    <a:pt x="327724" y="436155"/>
                    <a:pt x="351187" y="401292"/>
                  </a:cubicBezTo>
                  <a:cubicBezTo>
                    <a:pt x="364826" y="385259"/>
                    <a:pt x="385235" y="376608"/>
                    <a:pt x="406241" y="377956"/>
                  </a:cubicBezTo>
                  <a:lnTo>
                    <a:pt x="408051" y="377956"/>
                  </a:lnTo>
                  <a:lnTo>
                    <a:pt x="408051" y="337855"/>
                  </a:lnTo>
                  <a:lnTo>
                    <a:pt x="406241" y="337855"/>
                  </a:lnTo>
                  <a:cubicBezTo>
                    <a:pt x="368808" y="337855"/>
                    <a:pt x="339566" y="349571"/>
                    <a:pt x="320516" y="372622"/>
                  </a:cubicBezTo>
                  <a:cubicBezTo>
                    <a:pt x="302800" y="393481"/>
                    <a:pt x="293751" y="422628"/>
                    <a:pt x="293751" y="459109"/>
                  </a:cubicBezTo>
                  <a:cubicBezTo>
                    <a:pt x="292392" y="490453"/>
                    <a:pt x="302748" y="521182"/>
                    <a:pt x="322802" y="545310"/>
                  </a:cubicBezTo>
                  <a:cubicBezTo>
                    <a:pt x="344232" y="568887"/>
                    <a:pt x="375086" y="581641"/>
                    <a:pt x="406908" y="580076"/>
                  </a:cubicBezTo>
                  <a:lnTo>
                    <a:pt x="408718" y="580076"/>
                  </a:lnTo>
                  <a:lnTo>
                    <a:pt x="408718" y="539976"/>
                  </a:lnTo>
                  <a:lnTo>
                    <a:pt x="406908" y="539976"/>
                  </a:lnTo>
                  <a:cubicBezTo>
                    <a:pt x="386068" y="540967"/>
                    <a:pt x="365946" y="532243"/>
                    <a:pt x="352425" y="516354"/>
                  </a:cubicBezTo>
                  <a:close/>
                  <a:moveTo>
                    <a:pt x="494919" y="516354"/>
                  </a:moveTo>
                  <a:cubicBezTo>
                    <a:pt x="470939" y="481845"/>
                    <a:pt x="470599" y="436155"/>
                    <a:pt x="494062" y="401292"/>
                  </a:cubicBezTo>
                  <a:cubicBezTo>
                    <a:pt x="507701" y="385259"/>
                    <a:pt x="528110" y="376608"/>
                    <a:pt x="549116" y="377956"/>
                  </a:cubicBezTo>
                  <a:lnTo>
                    <a:pt x="550926" y="377956"/>
                  </a:lnTo>
                  <a:lnTo>
                    <a:pt x="550926" y="337855"/>
                  </a:lnTo>
                  <a:lnTo>
                    <a:pt x="549116" y="337855"/>
                  </a:lnTo>
                  <a:cubicBezTo>
                    <a:pt x="511683" y="337855"/>
                    <a:pt x="482441" y="349571"/>
                    <a:pt x="463391" y="372622"/>
                  </a:cubicBezTo>
                  <a:cubicBezTo>
                    <a:pt x="445675" y="393481"/>
                    <a:pt x="436626" y="422628"/>
                    <a:pt x="436626" y="459109"/>
                  </a:cubicBezTo>
                  <a:cubicBezTo>
                    <a:pt x="435267" y="490453"/>
                    <a:pt x="445623" y="521182"/>
                    <a:pt x="465677" y="545310"/>
                  </a:cubicBezTo>
                  <a:cubicBezTo>
                    <a:pt x="487107" y="568887"/>
                    <a:pt x="517961" y="581641"/>
                    <a:pt x="549783" y="580076"/>
                  </a:cubicBezTo>
                  <a:lnTo>
                    <a:pt x="551593" y="580076"/>
                  </a:lnTo>
                  <a:lnTo>
                    <a:pt x="551593" y="539976"/>
                  </a:lnTo>
                  <a:lnTo>
                    <a:pt x="549783" y="539976"/>
                  </a:lnTo>
                  <a:cubicBezTo>
                    <a:pt x="528649" y="541239"/>
                    <a:pt x="508150" y="532490"/>
                    <a:pt x="494443" y="51635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20" name="Прямая соединительная линия 19">
            <a:extLst>
              <a:ext uri="{FF2B5EF4-FFF2-40B4-BE49-F238E27FC236}">
                <a16:creationId xmlns="" xmlns:a16="http://schemas.microsoft.com/office/drawing/2014/main" id="{743C5332-9ACA-418C-BE7B-9AA09BF08BC6}"/>
              </a:ext>
            </a:extLst>
          </p:cNvPr>
          <p:cNvCxnSpPr>
            <a:cxnSpLocks/>
          </p:cNvCxnSpPr>
          <p:nvPr userDrawn="1"/>
        </p:nvCxnSpPr>
        <p:spPr>
          <a:xfrm>
            <a:off x="821190" y="2241322"/>
            <a:ext cx="0" cy="3626078"/>
          </a:xfrm>
          <a:prstGeom prst="line">
            <a:avLst/>
          </a:prstGeom>
          <a:ln w="12700">
            <a:solidFill>
              <a:schemeClr val="bg1">
                <a:lumMod val="75000"/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>
            <a:extLst>
              <a:ext uri="{FF2B5EF4-FFF2-40B4-BE49-F238E27FC236}">
                <a16:creationId xmlns="" xmlns:a16="http://schemas.microsoft.com/office/drawing/2014/main" id="{25744AD9-A404-4997-B58E-93F91CF38D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1691" y="2923453"/>
            <a:ext cx="4260340" cy="2096952"/>
          </a:xfrm>
          <a:prstGeom prst="rect">
            <a:avLst/>
          </a:prstGeom>
          <a:effectLst/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5400" b="1">
                <a:solidFill>
                  <a:schemeClr val="tx2"/>
                </a:solidFill>
                <a:effectLst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не более 3 строк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="" xmlns:a16="http://schemas.microsoft.com/office/drawing/2014/main" id="{E4543A4C-000C-4826-B0FE-937834585B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1690" y="5270803"/>
            <a:ext cx="5452475" cy="441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Укажите название подразделения</a:t>
            </a:r>
          </a:p>
        </p:txBody>
      </p:sp>
    </p:spTree>
    <p:extLst>
      <p:ext uri="{BB962C8B-B14F-4D97-AF65-F5344CB8AC3E}">
        <p14:creationId xmlns:p14="http://schemas.microsoft.com/office/powerpoint/2010/main" val="90488138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184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9E92C9B-C3D1-4980-8F25-5B00F151D9A1}"/>
              </a:ext>
            </a:extLst>
          </p:cNvPr>
          <p:cNvSpPr/>
          <p:nvPr userDrawn="1"/>
        </p:nvSpPr>
        <p:spPr>
          <a:xfrm>
            <a:off x="10784114" y="217714"/>
            <a:ext cx="1074057" cy="1050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Текст 31">
            <a:extLst>
              <a:ext uri="{FF2B5EF4-FFF2-40B4-BE49-F238E27FC236}">
                <a16:creationId xmlns="" xmlns:a16="http://schemas.microsoft.com/office/drawing/2014/main" id="{9B15E909-E4A0-4912-8A49-B5B1707BEA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92505" y="1282101"/>
            <a:ext cx="8154167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b="1" kern="120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62" name="Текст 31">
            <a:extLst>
              <a:ext uri="{FF2B5EF4-FFF2-40B4-BE49-F238E27FC236}">
                <a16:creationId xmlns="" xmlns:a16="http://schemas.microsoft.com/office/drawing/2014/main" id="{200801D4-DABE-4842-80AF-A822318202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92506" y="1555830"/>
            <a:ext cx="840381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Текстовый блок в 2 строки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9E87AC8D-4D37-4109-84BA-3FB218114C90}"/>
              </a:ext>
            </a:extLst>
          </p:cNvPr>
          <p:cNvSpPr/>
          <p:nvPr userDrawn="1"/>
        </p:nvSpPr>
        <p:spPr>
          <a:xfrm>
            <a:off x="1388642" y="5137739"/>
            <a:ext cx="11030840" cy="21236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>
            <a:spAutoFit/>
          </a:bodyPr>
          <a:lstStyle/>
          <a:p>
            <a:pPr>
              <a:buClr>
                <a:srgbClr val="1937FF"/>
              </a:buClr>
              <a:defRPr/>
            </a:pPr>
            <a:r>
              <a:rPr lang="ru-RU" sz="13800" b="1" spc="100" dirty="0">
                <a:solidFill>
                  <a:schemeClr val="bg1">
                    <a:lumMod val="85000"/>
                    <a:alpha val="68000"/>
                  </a:schemeClr>
                </a:solidFill>
              </a:rPr>
              <a:t>Содержание</a:t>
            </a:r>
          </a:p>
        </p:txBody>
      </p:sp>
      <p:sp>
        <p:nvSpPr>
          <p:cNvPr id="36" name="Текст 82">
            <a:extLst>
              <a:ext uri="{FF2B5EF4-FFF2-40B4-BE49-F238E27FC236}">
                <a16:creationId xmlns="" xmlns:a16="http://schemas.microsoft.com/office/drawing/2014/main" id="{44BC5CFB-1DD7-4515-8FCF-3ACD7E878CF5}"/>
              </a:ext>
            </a:extLst>
          </p:cNvPr>
          <p:cNvSpPr txBox="1">
            <a:spLocks/>
          </p:cNvSpPr>
          <p:nvPr/>
        </p:nvSpPr>
        <p:spPr>
          <a:xfrm>
            <a:off x="1696434" y="1232050"/>
            <a:ext cx="628377" cy="6093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400" b="1" dirty="0">
                <a:solidFill>
                  <a:schemeClr val="bg1">
                    <a:lumMod val="75000"/>
                  </a:schemeClr>
                </a:solidFill>
              </a:rPr>
              <a:t>01</a:t>
            </a:r>
          </a:p>
        </p:txBody>
      </p:sp>
      <p:sp>
        <p:nvSpPr>
          <p:cNvPr id="43" name="Текст 82">
            <a:extLst>
              <a:ext uri="{FF2B5EF4-FFF2-40B4-BE49-F238E27FC236}">
                <a16:creationId xmlns="" xmlns:a16="http://schemas.microsoft.com/office/drawing/2014/main" id="{A133D494-977A-4236-A02D-2EE72F2405C8}"/>
              </a:ext>
            </a:extLst>
          </p:cNvPr>
          <p:cNvSpPr txBox="1">
            <a:spLocks/>
          </p:cNvSpPr>
          <p:nvPr/>
        </p:nvSpPr>
        <p:spPr>
          <a:xfrm>
            <a:off x="1696434" y="2235700"/>
            <a:ext cx="628377" cy="6093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400" b="1" dirty="0">
                <a:solidFill>
                  <a:schemeClr val="bg1">
                    <a:lumMod val="75000"/>
                  </a:schemeClr>
                </a:solidFill>
              </a:rPr>
              <a:t>0</a:t>
            </a:r>
            <a:r>
              <a:rPr lang="en-US" sz="4400" b="1" dirty="0">
                <a:solidFill>
                  <a:schemeClr val="bg1">
                    <a:lumMod val="75000"/>
                  </a:schemeClr>
                </a:solidFill>
              </a:rPr>
              <a:t>2</a:t>
            </a:r>
            <a:endParaRPr lang="ru-RU" sz="4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8" name="Текст 82">
            <a:extLst>
              <a:ext uri="{FF2B5EF4-FFF2-40B4-BE49-F238E27FC236}">
                <a16:creationId xmlns="" xmlns:a16="http://schemas.microsoft.com/office/drawing/2014/main" id="{BC66824A-F583-48E2-BF0A-F679BB6F09FE}"/>
              </a:ext>
            </a:extLst>
          </p:cNvPr>
          <p:cNvSpPr txBox="1">
            <a:spLocks/>
          </p:cNvSpPr>
          <p:nvPr/>
        </p:nvSpPr>
        <p:spPr>
          <a:xfrm>
            <a:off x="1696434" y="3239350"/>
            <a:ext cx="628377" cy="6093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400" b="1" dirty="0">
                <a:solidFill>
                  <a:schemeClr val="bg1">
                    <a:lumMod val="75000"/>
                  </a:schemeClr>
                </a:solidFill>
              </a:rPr>
              <a:t>0</a:t>
            </a:r>
            <a:r>
              <a:rPr lang="en-US" sz="4400" b="1" dirty="0">
                <a:solidFill>
                  <a:schemeClr val="bg1">
                    <a:lumMod val="75000"/>
                  </a:schemeClr>
                </a:solidFill>
              </a:rPr>
              <a:t>3</a:t>
            </a:r>
            <a:endParaRPr lang="ru-RU" sz="4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5" name="Текст 82">
            <a:extLst>
              <a:ext uri="{FF2B5EF4-FFF2-40B4-BE49-F238E27FC236}">
                <a16:creationId xmlns="" xmlns:a16="http://schemas.microsoft.com/office/drawing/2014/main" id="{AF2FEF59-9DB6-4F6C-ADB4-5E3DE81CD295}"/>
              </a:ext>
            </a:extLst>
          </p:cNvPr>
          <p:cNvSpPr txBox="1">
            <a:spLocks/>
          </p:cNvSpPr>
          <p:nvPr/>
        </p:nvSpPr>
        <p:spPr>
          <a:xfrm>
            <a:off x="1696434" y="4242999"/>
            <a:ext cx="628377" cy="6093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400" b="1" dirty="0">
                <a:solidFill>
                  <a:schemeClr val="bg1">
                    <a:lumMod val="75000"/>
                  </a:schemeClr>
                </a:solidFill>
              </a:rPr>
              <a:t>0</a:t>
            </a:r>
            <a:r>
              <a:rPr lang="en-US" sz="4400" b="1" dirty="0">
                <a:solidFill>
                  <a:schemeClr val="bg1">
                    <a:lumMod val="75000"/>
                  </a:schemeClr>
                </a:solidFill>
              </a:rPr>
              <a:t>4</a:t>
            </a:r>
            <a:endParaRPr lang="ru-RU" sz="4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85" name="Текст 31">
            <a:extLst>
              <a:ext uri="{FF2B5EF4-FFF2-40B4-BE49-F238E27FC236}">
                <a16:creationId xmlns="" xmlns:a16="http://schemas.microsoft.com/office/drawing/2014/main" id="{B58226EC-CCD0-400B-B164-9E023861458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392505" y="2286132"/>
            <a:ext cx="8154167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b="1" kern="120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86" name="Текст 31">
            <a:extLst>
              <a:ext uri="{FF2B5EF4-FFF2-40B4-BE49-F238E27FC236}">
                <a16:creationId xmlns="" xmlns:a16="http://schemas.microsoft.com/office/drawing/2014/main" id="{4891E504-7C5F-4CC0-B30D-9738A1F9015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392506" y="2559861"/>
            <a:ext cx="840381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Текстовый блок в 2 строки</a:t>
            </a:r>
          </a:p>
        </p:txBody>
      </p:sp>
      <p:sp>
        <p:nvSpPr>
          <p:cNvPr id="87" name="Текст 31">
            <a:extLst>
              <a:ext uri="{FF2B5EF4-FFF2-40B4-BE49-F238E27FC236}">
                <a16:creationId xmlns="" xmlns:a16="http://schemas.microsoft.com/office/drawing/2014/main" id="{19194CF9-1425-4F7A-BBE7-3681576F8BA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392505" y="3247058"/>
            <a:ext cx="8154167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b="1" kern="120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88" name="Текст 31">
            <a:extLst>
              <a:ext uri="{FF2B5EF4-FFF2-40B4-BE49-F238E27FC236}">
                <a16:creationId xmlns="" xmlns:a16="http://schemas.microsoft.com/office/drawing/2014/main" id="{CAEB713A-5A36-4B7C-AE86-5AFF50D4D7F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392506" y="3520787"/>
            <a:ext cx="840381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Текстовый блок в 2 строки</a:t>
            </a:r>
          </a:p>
        </p:txBody>
      </p:sp>
      <p:sp>
        <p:nvSpPr>
          <p:cNvPr id="89" name="Текст 31">
            <a:extLst>
              <a:ext uri="{FF2B5EF4-FFF2-40B4-BE49-F238E27FC236}">
                <a16:creationId xmlns="" xmlns:a16="http://schemas.microsoft.com/office/drawing/2014/main" id="{F4A91393-D990-46E2-BD0D-8C2E5AAC2CA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92505" y="4256001"/>
            <a:ext cx="8154167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b="1" kern="120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90" name="Текст 31">
            <a:extLst>
              <a:ext uri="{FF2B5EF4-FFF2-40B4-BE49-F238E27FC236}">
                <a16:creationId xmlns="" xmlns:a16="http://schemas.microsoft.com/office/drawing/2014/main" id="{613F87FC-2323-45B3-BC75-5EE44594AC8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92506" y="4529730"/>
            <a:ext cx="840381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Текстовый блок 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727921562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без булле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31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86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EA5E833F-D606-4328-B2C0-3D231EBDF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>
            <a:extLst>
              <a:ext uri="{FF2B5EF4-FFF2-40B4-BE49-F238E27FC236}">
                <a16:creationId xmlns="" xmlns:a16="http://schemas.microsoft.com/office/drawing/2014/main" id="{94698035-8861-4E0F-AADC-D737F5478C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952989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арточ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007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10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EA5E833F-D606-4328-B2C0-3D231EBDF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943F0BE3-92C3-4BA1-B022-CA6407CDF6EA}"/>
              </a:ext>
            </a:extLst>
          </p:cNvPr>
          <p:cNvSpPr/>
          <p:nvPr/>
        </p:nvSpPr>
        <p:spPr>
          <a:xfrm>
            <a:off x="4332000" y="1535112"/>
            <a:ext cx="3528000" cy="46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0" rtlCol="0" anchor="t"/>
          <a:lstStyle/>
          <a:p>
            <a:pPr marL="108000" indent="-108000" algn="ctr">
              <a:spcAft>
                <a:spcPts val="1000"/>
              </a:spcAft>
              <a:buClr>
                <a:srgbClr val="1937FF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705891F0-69FD-4A1C-A069-186264E8F8AA}"/>
              </a:ext>
            </a:extLst>
          </p:cNvPr>
          <p:cNvSpPr/>
          <p:nvPr/>
        </p:nvSpPr>
        <p:spPr>
          <a:xfrm>
            <a:off x="8113138" y="1535112"/>
            <a:ext cx="3528000" cy="46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0" rtlCol="0" anchor="t"/>
          <a:lstStyle/>
          <a:p>
            <a:pPr marL="108000" indent="-108000" algn="ctr">
              <a:spcAft>
                <a:spcPts val="1000"/>
              </a:spcAft>
              <a:buClr>
                <a:srgbClr val="1937FF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D981799D-223E-4B3E-A5B8-28CA454D2393}"/>
              </a:ext>
            </a:extLst>
          </p:cNvPr>
          <p:cNvSpPr/>
          <p:nvPr userDrawn="1"/>
        </p:nvSpPr>
        <p:spPr>
          <a:xfrm>
            <a:off x="550863" y="1535112"/>
            <a:ext cx="3528000" cy="46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0" rtlCol="0" anchor="t"/>
          <a:lstStyle/>
          <a:p>
            <a:pPr marL="108000" indent="-108000" algn="ctr">
              <a:spcAft>
                <a:spcPts val="1000"/>
              </a:spcAft>
              <a:buClr>
                <a:srgbClr val="1937FF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95522D7F-7DEC-479A-BA3B-E75A2A5D2405}"/>
              </a:ext>
            </a:extLst>
          </p:cNvPr>
          <p:cNvSpPr/>
          <p:nvPr userDrawn="1"/>
        </p:nvSpPr>
        <p:spPr>
          <a:xfrm>
            <a:off x="550862" y="1535112"/>
            <a:ext cx="3528000" cy="5568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lvl="0"/>
            <a:endParaRPr lang="ru-RU" sz="1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2DED5C47-4339-499E-BAEB-514187B655F7}"/>
              </a:ext>
            </a:extLst>
          </p:cNvPr>
          <p:cNvSpPr/>
          <p:nvPr userDrawn="1"/>
        </p:nvSpPr>
        <p:spPr>
          <a:xfrm>
            <a:off x="4332000" y="1535112"/>
            <a:ext cx="3528000" cy="5568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lvl="0"/>
            <a:endParaRPr lang="ru-RU" sz="1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3CEFEB58-4920-4CE6-B9B5-3D2A0103A4C4}"/>
              </a:ext>
            </a:extLst>
          </p:cNvPr>
          <p:cNvSpPr/>
          <p:nvPr userDrawn="1"/>
        </p:nvSpPr>
        <p:spPr>
          <a:xfrm>
            <a:off x="8113138" y="1535112"/>
            <a:ext cx="3528000" cy="5568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lvl="0"/>
            <a:endParaRPr lang="ru-RU" sz="1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Текст 17">
            <a:extLst>
              <a:ext uri="{FF2B5EF4-FFF2-40B4-BE49-F238E27FC236}">
                <a16:creationId xmlns="" xmlns:a16="http://schemas.microsoft.com/office/drawing/2014/main" id="{4B329F36-1D34-476E-9043-5F38541925D2}"/>
              </a:ext>
            </a:extLst>
          </p:cNvPr>
          <p:cNvSpPr txBox="1">
            <a:spLocks/>
          </p:cNvSpPr>
          <p:nvPr userDrawn="1"/>
        </p:nvSpPr>
        <p:spPr>
          <a:xfrm>
            <a:off x="4515707" y="1716564"/>
            <a:ext cx="65" cy="1938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Текст 17">
            <a:extLst>
              <a:ext uri="{FF2B5EF4-FFF2-40B4-BE49-F238E27FC236}">
                <a16:creationId xmlns="" xmlns:a16="http://schemas.microsoft.com/office/drawing/2014/main" id="{8EECBA10-5398-4479-81BD-3F0132E61548}"/>
              </a:ext>
            </a:extLst>
          </p:cNvPr>
          <p:cNvSpPr txBox="1">
            <a:spLocks/>
          </p:cNvSpPr>
          <p:nvPr userDrawn="1"/>
        </p:nvSpPr>
        <p:spPr>
          <a:xfrm>
            <a:off x="736600" y="1716564"/>
            <a:ext cx="65" cy="1938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Текст 25">
            <a:extLst>
              <a:ext uri="{FF2B5EF4-FFF2-40B4-BE49-F238E27FC236}">
                <a16:creationId xmlns="" xmlns:a16="http://schemas.microsoft.com/office/drawing/2014/main" id="{E96AB2CD-4AE7-4EB1-AB51-E7E1ED59548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736598" y="2356597"/>
            <a:ext cx="3131252" cy="3253628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tx2"/>
              </a:buClr>
              <a:defRPr sz="12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eiusmod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0"/>
            <a:endParaRPr lang="ru-RU" dirty="0"/>
          </a:p>
        </p:txBody>
      </p:sp>
      <p:sp>
        <p:nvSpPr>
          <p:cNvPr id="45" name="Текст 25">
            <a:extLst>
              <a:ext uri="{FF2B5EF4-FFF2-40B4-BE49-F238E27FC236}">
                <a16:creationId xmlns="" xmlns:a16="http://schemas.microsoft.com/office/drawing/2014/main" id="{8437CC08-B4FF-4F20-A163-9347EF1E3DEA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4512874" y="2356597"/>
            <a:ext cx="3131252" cy="3253627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tx2"/>
              </a:buClr>
              <a:defRPr sz="12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eiusmod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0"/>
            <a:endParaRPr lang="ru-RU" dirty="0"/>
          </a:p>
        </p:txBody>
      </p:sp>
      <p:sp>
        <p:nvSpPr>
          <p:cNvPr id="49" name="Текст 25">
            <a:extLst>
              <a:ext uri="{FF2B5EF4-FFF2-40B4-BE49-F238E27FC236}">
                <a16:creationId xmlns="" xmlns:a16="http://schemas.microsoft.com/office/drawing/2014/main" id="{C91376A4-0961-4B75-B986-78FB9C0A538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294815" y="2356597"/>
            <a:ext cx="3131252" cy="3253627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tx2"/>
              </a:buClr>
              <a:defRPr sz="12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eiusmod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0"/>
            <a:endParaRPr lang="ru-RU" dirty="0"/>
          </a:p>
        </p:txBody>
      </p:sp>
      <p:sp>
        <p:nvSpPr>
          <p:cNvPr id="24" name="Текст 23">
            <a:extLst>
              <a:ext uri="{FF2B5EF4-FFF2-40B4-BE49-F238E27FC236}">
                <a16:creationId xmlns="" xmlns:a16="http://schemas.microsoft.com/office/drawing/2014/main" id="{F1907CD7-1207-486A-A74B-E21F50149E3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6598" y="1596532"/>
            <a:ext cx="3131252" cy="433965"/>
          </a:xfrm>
          <a:prstGeom prst="rect">
            <a:avLst/>
          </a:prstGeom>
        </p:spPr>
        <p:txBody>
          <a:bodyPr wrap="square" lIns="0" tIns="0" rIns="0" bIns="36000" anchor="ctr">
            <a:spAutoFit/>
          </a:bodyPr>
          <a:lstStyle>
            <a:lvl1pPr marL="0" indent="0">
              <a:spcBef>
                <a:spcPts val="0"/>
              </a:spcBef>
              <a:buNone/>
              <a:defRPr lang="ru-RU" sz="1400" b="1" kern="1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Тезисы/причины/</a:t>
            </a:r>
            <a:br>
              <a:rPr lang="ru-RU" dirty="0"/>
            </a:br>
            <a:r>
              <a:rPr lang="ru-RU" dirty="0"/>
              <a:t>предпосылки</a:t>
            </a:r>
          </a:p>
        </p:txBody>
      </p:sp>
      <p:sp>
        <p:nvSpPr>
          <p:cNvPr id="41" name="Текст 23">
            <a:extLst>
              <a:ext uri="{FF2B5EF4-FFF2-40B4-BE49-F238E27FC236}">
                <a16:creationId xmlns="" xmlns:a16="http://schemas.microsoft.com/office/drawing/2014/main" id="{39071F6D-ADC0-4CBA-804B-B1B7B253C90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07564" y="1596532"/>
            <a:ext cx="3204800" cy="433965"/>
          </a:xfrm>
          <a:prstGeom prst="rect">
            <a:avLst/>
          </a:prstGeom>
        </p:spPr>
        <p:txBody>
          <a:bodyPr wrap="square" lIns="0" tIns="0" rIns="0" bIns="36000" anchor="ctr">
            <a:spAutoFit/>
          </a:bodyPr>
          <a:lstStyle>
            <a:lvl1pPr marL="0" indent="0">
              <a:spcBef>
                <a:spcPts val="0"/>
              </a:spcBef>
              <a:buNone/>
              <a:defRPr lang="ru-RU" sz="1400" b="1" kern="1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Тезисы/причины/</a:t>
            </a:r>
            <a:br>
              <a:rPr lang="ru-RU" dirty="0"/>
            </a:br>
            <a:r>
              <a:rPr lang="ru-RU" dirty="0"/>
              <a:t>предпосылки</a:t>
            </a:r>
          </a:p>
        </p:txBody>
      </p:sp>
      <p:sp>
        <p:nvSpPr>
          <p:cNvPr id="50" name="Текст 23">
            <a:extLst>
              <a:ext uri="{FF2B5EF4-FFF2-40B4-BE49-F238E27FC236}">
                <a16:creationId xmlns="" xmlns:a16="http://schemas.microsoft.com/office/drawing/2014/main" id="{D095EAF0-D654-4AEC-B401-C60D5504636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94815" y="1596532"/>
            <a:ext cx="3131252" cy="433965"/>
          </a:xfrm>
          <a:prstGeom prst="rect">
            <a:avLst/>
          </a:prstGeom>
        </p:spPr>
        <p:txBody>
          <a:bodyPr wrap="square" lIns="0" tIns="0" rIns="0" bIns="36000" anchor="ctr">
            <a:spAutoFit/>
          </a:bodyPr>
          <a:lstStyle>
            <a:lvl1pPr marL="0" indent="0">
              <a:spcBef>
                <a:spcPts val="0"/>
              </a:spcBef>
              <a:buNone/>
              <a:defRPr lang="ru-RU" sz="1400" b="1" kern="1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Тезисы/причины/</a:t>
            </a:r>
            <a:br>
              <a:rPr lang="ru-RU" dirty="0"/>
            </a:br>
            <a:r>
              <a:rPr lang="ru-RU" dirty="0"/>
              <a:t>предпосылки</a:t>
            </a:r>
          </a:p>
        </p:txBody>
      </p:sp>
      <p:sp>
        <p:nvSpPr>
          <p:cNvPr id="52" name="Текст 8">
            <a:extLst>
              <a:ext uri="{FF2B5EF4-FFF2-40B4-BE49-F238E27FC236}">
                <a16:creationId xmlns="" xmlns:a16="http://schemas.microsoft.com/office/drawing/2014/main" id="{C01535C2-66A7-4C27-86D0-AB91D7207D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276281651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-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0881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34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EA5E833F-D606-4328-B2C0-3D231EBDF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21">
            <a:extLst>
              <a:ext uri="{FF2B5EF4-FFF2-40B4-BE49-F238E27FC236}">
                <a16:creationId xmlns="" xmlns:a16="http://schemas.microsoft.com/office/drawing/2014/main" id="{1617CC82-9028-4A27-8307-B3E61CC1B44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864" y="1107281"/>
            <a:ext cx="11090274" cy="49125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925E2"/>
              </a:buClr>
              <a:buFont typeface="+mj-lt"/>
              <a:buAutoNum type="arabicPeriod"/>
              <a:defRPr lang="ru-RU"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marL="180000" lvl="0" indent="-180000">
              <a:spcAft>
                <a:spcPts val="1600"/>
              </a:spcAft>
              <a:buClr>
                <a:srgbClr val="0925E2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Lorem ipsum dolor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consecte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dipiscing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. Proin </a:t>
            </a:r>
            <a:r>
              <a:rPr lang="en-US" sz="1200" dirty="0" err="1">
                <a:solidFill>
                  <a:srgbClr val="000000"/>
                </a:solidFill>
              </a:rPr>
              <a:t>preti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is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urus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uscipi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e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get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Praesent</a:t>
            </a:r>
            <a:r>
              <a:rPr lang="en-US" sz="1200" dirty="0">
                <a:solidFill>
                  <a:srgbClr val="000000"/>
                </a:solidFill>
              </a:rPr>
              <a:t> vel </a:t>
            </a:r>
            <a:r>
              <a:rPr lang="en-US" sz="1200" dirty="0" err="1">
                <a:solidFill>
                  <a:srgbClr val="000000"/>
                </a:solidFill>
              </a:rPr>
              <a:t>urn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urpis</a:t>
            </a:r>
            <a:r>
              <a:rPr lang="en-US" sz="1200" dirty="0">
                <a:solidFill>
                  <a:srgbClr val="000000"/>
                </a:solidFill>
              </a:rPr>
              <a:t>. Vestibulum ante ipsum </a:t>
            </a:r>
            <a:r>
              <a:rPr lang="en-US" sz="1200" dirty="0" err="1">
                <a:solidFill>
                  <a:srgbClr val="000000"/>
                </a:solidFill>
              </a:rPr>
              <a:t>primis</a:t>
            </a:r>
            <a:r>
              <a:rPr lang="en-US" sz="1200" dirty="0">
                <a:solidFill>
                  <a:srgbClr val="000000"/>
                </a:solidFill>
              </a:rPr>
              <a:t> in </a:t>
            </a:r>
            <a:r>
              <a:rPr lang="en-US" sz="1200" dirty="0" err="1">
                <a:solidFill>
                  <a:srgbClr val="000000"/>
                </a:solidFill>
              </a:rPr>
              <a:t>faucib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rci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uctus</a:t>
            </a:r>
            <a:r>
              <a:rPr lang="en-US" sz="1200" dirty="0">
                <a:solidFill>
                  <a:srgbClr val="000000"/>
                </a:solidFill>
              </a:rPr>
              <a:t> et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osuer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bili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rae</a:t>
            </a:r>
            <a:r>
              <a:rPr lang="en-US" sz="1200" dirty="0">
                <a:solidFill>
                  <a:srgbClr val="000000"/>
                </a:solidFill>
              </a:rPr>
              <a:t>; </a:t>
            </a:r>
            <a:r>
              <a:rPr lang="en-US" sz="1200" dirty="0" err="1">
                <a:solidFill>
                  <a:srgbClr val="000000"/>
                </a:solidFill>
              </a:rPr>
              <a:t>Orci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vari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atoqu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enatibus</a:t>
            </a:r>
            <a:r>
              <a:rPr lang="en-US" sz="1200" dirty="0">
                <a:solidFill>
                  <a:srgbClr val="000000"/>
                </a:solidFill>
              </a:rPr>
              <a:t> et </a:t>
            </a:r>
            <a:r>
              <a:rPr lang="en-US" sz="1200" dirty="0" err="1">
                <a:solidFill>
                  <a:srgbClr val="000000"/>
                </a:solidFill>
              </a:rPr>
              <a:t>magnis</a:t>
            </a:r>
            <a:r>
              <a:rPr lang="en-US" sz="1200" dirty="0">
                <a:solidFill>
                  <a:srgbClr val="000000"/>
                </a:solidFill>
              </a:rPr>
              <a:t> dis parturient </a:t>
            </a:r>
            <a:r>
              <a:rPr lang="en-US" sz="1200" dirty="0" err="1">
                <a:solidFill>
                  <a:srgbClr val="000000"/>
                </a:solidFill>
              </a:rPr>
              <a:t>montes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nasce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idiculus</a:t>
            </a:r>
            <a:r>
              <a:rPr lang="en-US" sz="1200" dirty="0">
                <a:solidFill>
                  <a:srgbClr val="000000"/>
                </a:solidFill>
              </a:rPr>
              <a:t> mus. </a:t>
            </a:r>
            <a:r>
              <a:rPr lang="en-US" sz="1200" dirty="0" err="1">
                <a:solidFill>
                  <a:srgbClr val="000000"/>
                </a:solidFill>
              </a:rPr>
              <a:t>Nullam</a:t>
            </a:r>
            <a:r>
              <a:rPr lang="en-US" sz="1200" dirty="0">
                <a:solidFill>
                  <a:srgbClr val="000000"/>
                </a:solidFill>
              </a:rPr>
              <a:t> vel </a:t>
            </a:r>
            <a:r>
              <a:rPr lang="en-US" sz="1200" dirty="0" err="1">
                <a:solidFill>
                  <a:srgbClr val="000000"/>
                </a:solidFill>
              </a:rPr>
              <a:t>ero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urus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Praese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ge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ur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etus</a:t>
            </a:r>
            <a:r>
              <a:rPr lang="en-US" sz="1200" dirty="0">
                <a:solidFill>
                  <a:srgbClr val="000000"/>
                </a:solidFill>
              </a:rPr>
              <a:t>. Vestibulum </a:t>
            </a:r>
            <a:r>
              <a:rPr lang="en-US" sz="1200" dirty="0" err="1">
                <a:solidFill>
                  <a:srgbClr val="000000"/>
                </a:solidFill>
              </a:rPr>
              <a:t>faucib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blandi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Maur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unc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ortor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viverra</a:t>
            </a:r>
            <a:r>
              <a:rPr lang="en-US" sz="1200" dirty="0">
                <a:solidFill>
                  <a:srgbClr val="000000"/>
                </a:solidFill>
              </a:rPr>
              <a:t> a </a:t>
            </a:r>
            <a:r>
              <a:rPr lang="en-US" sz="1200" dirty="0" err="1">
                <a:solidFill>
                  <a:srgbClr val="000000"/>
                </a:solidFill>
              </a:rPr>
              <a:t>nunc</a:t>
            </a:r>
            <a:r>
              <a:rPr lang="en-US" sz="1200" dirty="0">
                <a:solidFill>
                  <a:srgbClr val="000000"/>
                </a:solidFill>
              </a:rPr>
              <a:t> vitae, </a:t>
            </a: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eo</a:t>
            </a:r>
            <a:r>
              <a:rPr lang="en-US" sz="1200" dirty="0">
                <a:solidFill>
                  <a:srgbClr val="000000"/>
                </a:solidFill>
              </a:rPr>
              <a:t>. Aenean </a:t>
            </a:r>
            <a:r>
              <a:rPr lang="en-US" sz="1200" dirty="0" err="1">
                <a:solidFill>
                  <a:srgbClr val="000000"/>
                </a:solidFill>
              </a:rPr>
              <a:t>accumsan</a:t>
            </a:r>
            <a:r>
              <a:rPr lang="en-US" sz="1200" dirty="0">
                <a:solidFill>
                  <a:srgbClr val="000000"/>
                </a:solidFill>
              </a:rPr>
              <a:t> et ante </a:t>
            </a:r>
            <a:r>
              <a:rPr lang="en-US" sz="1200" dirty="0" err="1">
                <a:solidFill>
                  <a:srgbClr val="000000"/>
                </a:solidFill>
              </a:rPr>
              <a:t>eu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venenatis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180000" lvl="0" indent="-180000">
              <a:spcAft>
                <a:spcPts val="1600"/>
              </a:spcAft>
              <a:buClr>
                <a:srgbClr val="0925E2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Morbi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rcu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apien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lesuad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osuere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Pellentesque</a:t>
            </a:r>
            <a:r>
              <a:rPr lang="en-US" sz="1200" dirty="0">
                <a:solidFill>
                  <a:srgbClr val="000000"/>
                </a:solidFill>
              </a:rPr>
              <a:t> ex </a:t>
            </a:r>
            <a:r>
              <a:rPr lang="en-US" sz="1200" dirty="0" err="1">
                <a:solidFill>
                  <a:srgbClr val="000000"/>
                </a:solidFill>
              </a:rPr>
              <a:t>quam</a:t>
            </a:r>
            <a:r>
              <a:rPr lang="en-US" sz="1200" dirty="0">
                <a:solidFill>
                  <a:srgbClr val="000000"/>
                </a:solidFill>
              </a:rPr>
              <a:t>, vestibulum vel </a:t>
            </a:r>
            <a:r>
              <a:rPr lang="en-US" sz="1200" dirty="0" err="1">
                <a:solidFill>
                  <a:srgbClr val="000000"/>
                </a:solidFill>
              </a:rPr>
              <a:t>congue</a:t>
            </a:r>
            <a:r>
              <a:rPr lang="en-US" sz="1200" dirty="0">
                <a:solidFill>
                  <a:srgbClr val="000000"/>
                </a:solidFill>
              </a:rPr>
              <a:t> vitae,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sapien</a:t>
            </a:r>
            <a:r>
              <a:rPr lang="en-US" sz="1200" dirty="0">
                <a:solidFill>
                  <a:srgbClr val="000000"/>
                </a:solidFill>
              </a:rPr>
              <a:t>. Donec in ante </a:t>
            </a:r>
            <a:r>
              <a:rPr lang="en-US" sz="1200" dirty="0" err="1">
                <a:solidFill>
                  <a:srgbClr val="000000"/>
                </a:solidFill>
              </a:rPr>
              <a:t>mauris</a:t>
            </a:r>
            <a:r>
              <a:rPr lang="en-US" sz="1200" dirty="0">
                <a:solidFill>
                  <a:srgbClr val="000000"/>
                </a:solidFill>
              </a:rPr>
              <a:t>. Nam </a:t>
            </a:r>
            <a:r>
              <a:rPr lang="en-US" sz="1200" dirty="0" err="1">
                <a:solidFill>
                  <a:srgbClr val="000000"/>
                </a:solidFill>
              </a:rPr>
              <a:t>iaculis</a:t>
            </a:r>
            <a:r>
              <a:rPr lang="en-US" sz="1200" dirty="0">
                <a:solidFill>
                  <a:srgbClr val="000000"/>
                </a:solidFill>
              </a:rPr>
              <a:t> magna ante, a </a:t>
            </a:r>
            <a:r>
              <a:rPr lang="en-US" sz="1200" dirty="0" err="1">
                <a:solidFill>
                  <a:srgbClr val="000000"/>
                </a:solidFill>
              </a:rPr>
              <a:t>faucibus</a:t>
            </a:r>
            <a:r>
              <a:rPr lang="en-US" sz="1200" dirty="0">
                <a:solidFill>
                  <a:srgbClr val="000000"/>
                </a:solidFill>
              </a:rPr>
              <a:t> libero convallis at. Nam </a:t>
            </a:r>
            <a:r>
              <a:rPr lang="en-US" sz="1200" dirty="0" err="1">
                <a:solidFill>
                  <a:srgbClr val="000000"/>
                </a:solidFill>
              </a:rPr>
              <a:t>se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elis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finibus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velit</a:t>
            </a:r>
            <a:r>
              <a:rPr lang="en-US" sz="1200" dirty="0">
                <a:solidFill>
                  <a:srgbClr val="000000"/>
                </a:solidFill>
              </a:rPr>
              <a:t> sed, </a:t>
            </a:r>
            <a:r>
              <a:rPr lang="en-US" sz="1200" dirty="0" err="1">
                <a:solidFill>
                  <a:srgbClr val="000000"/>
                </a:solidFill>
              </a:rPr>
              <a:t>iacul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hendreri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rcu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ti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dio</a:t>
            </a:r>
            <a:r>
              <a:rPr lang="en-US" sz="1200" dirty="0">
                <a:solidFill>
                  <a:srgbClr val="000000"/>
                </a:solidFill>
              </a:rPr>
              <a:t> dui, cursus sed </a:t>
            </a:r>
            <a:r>
              <a:rPr lang="en-US" sz="1200" dirty="0" err="1">
                <a:solidFill>
                  <a:srgbClr val="000000"/>
                </a:solidFill>
              </a:rPr>
              <a:t>sollicitudin</a:t>
            </a:r>
            <a:r>
              <a:rPr lang="en-US" sz="1200" dirty="0">
                <a:solidFill>
                  <a:srgbClr val="000000"/>
                </a:solidFill>
              </a:rPr>
              <a:t> sed, </a:t>
            </a:r>
            <a:r>
              <a:rPr lang="en-US" sz="1200" dirty="0" err="1">
                <a:solidFill>
                  <a:srgbClr val="000000"/>
                </a:solidFill>
              </a:rPr>
              <a:t>luctus</a:t>
            </a:r>
            <a:r>
              <a:rPr lang="en-US" sz="1200" dirty="0">
                <a:solidFill>
                  <a:srgbClr val="000000"/>
                </a:solidFill>
              </a:rPr>
              <a:t> a </a:t>
            </a:r>
            <a:r>
              <a:rPr lang="en-US" sz="1200" dirty="0" err="1">
                <a:solidFill>
                  <a:srgbClr val="000000"/>
                </a:solidFill>
              </a:rPr>
              <a:t>neque</a:t>
            </a:r>
            <a:r>
              <a:rPr lang="en-US" sz="1200" dirty="0">
                <a:solidFill>
                  <a:srgbClr val="000000"/>
                </a:solidFill>
              </a:rPr>
              <a:t>. Morbi </a:t>
            </a:r>
            <a:r>
              <a:rPr lang="en-US" sz="1200" dirty="0" err="1">
                <a:solidFill>
                  <a:srgbClr val="000000"/>
                </a:solidFill>
              </a:rPr>
              <a:t>nibh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elis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viverr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aucibus</a:t>
            </a:r>
            <a:r>
              <a:rPr lang="en-US" sz="1200" dirty="0">
                <a:solidFill>
                  <a:srgbClr val="000000"/>
                </a:solidFill>
              </a:rPr>
              <a:t> pulvinar vitae, vestibulum at </a:t>
            </a:r>
            <a:r>
              <a:rPr lang="en-US" sz="1200" dirty="0" err="1">
                <a:solidFill>
                  <a:srgbClr val="000000"/>
                </a:solidFill>
              </a:rPr>
              <a:t>neque</a:t>
            </a:r>
            <a:r>
              <a:rPr lang="en-US" sz="1200" dirty="0">
                <a:solidFill>
                  <a:srgbClr val="000000"/>
                </a:solidFill>
              </a:rPr>
              <a:t>. Integer </a:t>
            </a:r>
            <a:r>
              <a:rPr lang="en-US" sz="1200" dirty="0" err="1">
                <a:solidFill>
                  <a:srgbClr val="000000"/>
                </a:solidFill>
              </a:rPr>
              <a:t>porttitor</a:t>
            </a:r>
            <a:r>
              <a:rPr lang="en-US" sz="1200" dirty="0">
                <a:solidFill>
                  <a:srgbClr val="000000"/>
                </a:solidFill>
              </a:rPr>
              <a:t> fermentum </a:t>
            </a:r>
            <a:r>
              <a:rPr lang="en-US" sz="1200" dirty="0" err="1">
                <a:solidFill>
                  <a:srgbClr val="000000"/>
                </a:solidFill>
              </a:rPr>
              <a:t>odi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dapib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ristique</a:t>
            </a:r>
            <a:r>
              <a:rPr lang="en-US" sz="1200" dirty="0">
                <a:solidFill>
                  <a:srgbClr val="000000"/>
                </a:solidFill>
              </a:rPr>
              <a:t>. Proin sed nisi sed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tt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bibend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ristique</a:t>
            </a:r>
            <a:r>
              <a:rPr lang="en-US" sz="1200" dirty="0">
                <a:solidFill>
                  <a:srgbClr val="000000"/>
                </a:solidFill>
              </a:rPr>
              <a:t> a </a:t>
            </a:r>
            <a:r>
              <a:rPr lang="en-US" sz="1200" dirty="0" err="1">
                <a:solidFill>
                  <a:srgbClr val="000000"/>
                </a:solidFill>
              </a:rPr>
              <a:t>quam</a:t>
            </a:r>
            <a:r>
              <a:rPr lang="en-US" sz="1200" dirty="0">
                <a:solidFill>
                  <a:srgbClr val="000000"/>
                </a:solidFill>
              </a:rPr>
              <a:t>. Maecenas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utrum</a:t>
            </a:r>
            <a:r>
              <a:rPr lang="en-US" sz="1200" dirty="0">
                <a:solidFill>
                  <a:srgbClr val="000000"/>
                </a:solidFill>
              </a:rPr>
              <a:t> est. Vestibulum </a:t>
            </a:r>
            <a:r>
              <a:rPr lang="en-US" sz="1200" dirty="0" err="1">
                <a:solidFill>
                  <a:srgbClr val="000000"/>
                </a:solidFill>
              </a:rPr>
              <a:t>commodo</a:t>
            </a:r>
            <a:r>
              <a:rPr lang="en-US" sz="1200" dirty="0">
                <a:solidFill>
                  <a:srgbClr val="000000"/>
                </a:solidFill>
              </a:rPr>
              <a:t> sed </a:t>
            </a:r>
            <a:r>
              <a:rPr lang="en-US" sz="1200" dirty="0" err="1">
                <a:solidFill>
                  <a:srgbClr val="000000"/>
                </a:solidFill>
              </a:rPr>
              <a:t>met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ge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orttitor</a:t>
            </a:r>
            <a:r>
              <a:rPr lang="en-US" sz="1200" dirty="0">
                <a:solidFill>
                  <a:srgbClr val="000000"/>
                </a:solidFill>
              </a:rPr>
              <a:t>. Proin et ipsum </a:t>
            </a:r>
            <a:r>
              <a:rPr lang="en-US" sz="1200" dirty="0" err="1">
                <a:solidFill>
                  <a:srgbClr val="000000"/>
                </a:solidFill>
              </a:rPr>
              <a:t>accumsan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ornare</a:t>
            </a:r>
            <a:r>
              <a:rPr lang="en-US" sz="1200" dirty="0">
                <a:solidFill>
                  <a:srgbClr val="000000"/>
                </a:solidFill>
              </a:rPr>
              <a:t> ante in, </a:t>
            </a:r>
            <a:r>
              <a:rPr lang="en-US" sz="1200" dirty="0" err="1">
                <a:solidFill>
                  <a:srgbClr val="000000"/>
                </a:solidFill>
              </a:rPr>
              <a:t>lobortis</a:t>
            </a:r>
            <a:r>
              <a:rPr lang="en-US" sz="1200" dirty="0">
                <a:solidFill>
                  <a:srgbClr val="000000"/>
                </a:solidFill>
              </a:rPr>
              <a:t> libero. Integer semper lacinia </a:t>
            </a:r>
            <a:r>
              <a:rPr lang="en-US" sz="1200" dirty="0" err="1">
                <a:solidFill>
                  <a:srgbClr val="000000"/>
                </a:solidFill>
              </a:rPr>
              <a:t>justo</a:t>
            </a:r>
            <a:r>
              <a:rPr lang="en-US" sz="1200" dirty="0">
                <a:solidFill>
                  <a:srgbClr val="000000"/>
                </a:solidFill>
              </a:rPr>
              <a:t> at </a:t>
            </a:r>
            <a:r>
              <a:rPr lang="en-US" sz="1200" dirty="0" err="1">
                <a:solidFill>
                  <a:srgbClr val="000000"/>
                </a:solidFill>
              </a:rPr>
              <a:t>pretium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180000" lvl="0" indent="-180000">
              <a:spcAft>
                <a:spcPts val="1600"/>
              </a:spcAft>
              <a:buClr>
                <a:srgbClr val="0925E2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Nam </a:t>
            </a:r>
            <a:r>
              <a:rPr lang="en-US" sz="1200" dirty="0" err="1">
                <a:solidFill>
                  <a:srgbClr val="000000"/>
                </a:solidFill>
              </a:rPr>
              <a:t>interd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incidu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ra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ege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gestas</a:t>
            </a:r>
            <a:r>
              <a:rPr lang="en-US" sz="1200" dirty="0">
                <a:solidFill>
                  <a:srgbClr val="000000"/>
                </a:solidFill>
              </a:rPr>
              <a:t> dolor dictum </a:t>
            </a:r>
            <a:r>
              <a:rPr lang="en-US" sz="1200" dirty="0" err="1">
                <a:solidFill>
                  <a:srgbClr val="000000"/>
                </a:solidFill>
              </a:rPr>
              <a:t>ut.</a:t>
            </a:r>
            <a:r>
              <a:rPr lang="en-US" sz="1200" dirty="0">
                <a:solidFill>
                  <a:srgbClr val="000000"/>
                </a:solidFill>
              </a:rPr>
              <a:t> Proin </a:t>
            </a:r>
            <a:r>
              <a:rPr lang="en-US" sz="1200" dirty="0" err="1">
                <a:solidFill>
                  <a:srgbClr val="000000"/>
                </a:solidFill>
              </a:rPr>
              <a:t>moll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ltricie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eque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nec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ltricies</a:t>
            </a:r>
            <a:r>
              <a:rPr lang="en-US" sz="1200" dirty="0">
                <a:solidFill>
                  <a:srgbClr val="000000"/>
                </a:solidFill>
              </a:rPr>
              <a:t> magna. </a:t>
            </a: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 ac gravida </a:t>
            </a:r>
            <a:r>
              <a:rPr lang="en-US" sz="1200" dirty="0" err="1">
                <a:solidFill>
                  <a:srgbClr val="000000"/>
                </a:solidFill>
              </a:rPr>
              <a:t>justo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utr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r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ugu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utr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odales</a:t>
            </a:r>
            <a:r>
              <a:rPr lang="en-US" sz="1200" dirty="0">
                <a:solidFill>
                  <a:srgbClr val="000000"/>
                </a:solidFill>
              </a:rPr>
              <a:t>. Morbi </a:t>
            </a:r>
            <a:r>
              <a:rPr lang="en-US" sz="1200" dirty="0" err="1">
                <a:solidFill>
                  <a:srgbClr val="000000"/>
                </a:solidFill>
              </a:rPr>
              <a:t>hendreri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ement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nsectetur</a:t>
            </a:r>
            <a:r>
              <a:rPr lang="en-US" sz="1200" dirty="0">
                <a:solidFill>
                  <a:srgbClr val="000000"/>
                </a:solidFill>
              </a:rPr>
              <a:t>. Maecenas libero </a:t>
            </a:r>
            <a:r>
              <a:rPr lang="en-US" sz="1200" dirty="0" err="1">
                <a:solidFill>
                  <a:srgbClr val="000000"/>
                </a:solidFill>
              </a:rPr>
              <a:t>enim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dignissi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dictum id, </a:t>
            </a:r>
            <a:r>
              <a:rPr lang="en-US" sz="1200" dirty="0" err="1">
                <a:solidFill>
                  <a:srgbClr val="000000"/>
                </a:solidFill>
              </a:rPr>
              <a:t>tempo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lacer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eque</a:t>
            </a:r>
            <a:r>
              <a:rPr lang="en-US" sz="1200" dirty="0">
                <a:solidFill>
                  <a:srgbClr val="000000"/>
                </a:solidFill>
              </a:rPr>
              <a:t>. Aenean </a:t>
            </a:r>
            <a:r>
              <a:rPr lang="en-US" sz="1200" dirty="0" err="1">
                <a:solidFill>
                  <a:srgbClr val="000000"/>
                </a:solidFill>
              </a:rPr>
              <a:t>element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lesuad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acus</a:t>
            </a:r>
            <a:r>
              <a:rPr lang="en-US" sz="1200" dirty="0">
                <a:solidFill>
                  <a:srgbClr val="000000"/>
                </a:solidFill>
              </a:rPr>
              <a:t>, sed </a:t>
            </a:r>
            <a:r>
              <a:rPr lang="en-US" sz="1200" dirty="0" err="1">
                <a:solidFill>
                  <a:srgbClr val="000000"/>
                </a:solidFill>
              </a:rPr>
              <a:t>ullamcorpe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lesuad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. Nam </a:t>
            </a:r>
            <a:r>
              <a:rPr lang="en-US" sz="1200" dirty="0" err="1">
                <a:solidFill>
                  <a:srgbClr val="000000"/>
                </a:solidFill>
              </a:rPr>
              <a:t>egesta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ur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ec</a:t>
            </a:r>
            <a:r>
              <a:rPr lang="en-US" sz="1200" dirty="0">
                <a:solidFill>
                  <a:srgbClr val="000000"/>
                </a:solidFill>
              </a:rPr>
              <a:t> pharetra. </a:t>
            </a: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honc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dapib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et</a:t>
            </a:r>
            <a:r>
              <a:rPr lang="en-US" sz="1200" dirty="0">
                <a:solidFill>
                  <a:srgbClr val="000000"/>
                </a:solidFill>
              </a:rPr>
              <a:t>. Vestibulum ante ipsum </a:t>
            </a:r>
            <a:r>
              <a:rPr lang="en-US" sz="1200" dirty="0" err="1">
                <a:solidFill>
                  <a:srgbClr val="000000"/>
                </a:solidFill>
              </a:rPr>
              <a:t>primis</a:t>
            </a:r>
            <a:r>
              <a:rPr lang="en-US" sz="1200" dirty="0">
                <a:solidFill>
                  <a:srgbClr val="000000"/>
                </a:solidFill>
              </a:rPr>
              <a:t> in </a:t>
            </a:r>
            <a:r>
              <a:rPr lang="en-US" sz="1200" dirty="0" err="1">
                <a:solidFill>
                  <a:srgbClr val="000000"/>
                </a:solidFill>
              </a:rPr>
              <a:t>faucib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rci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uctus</a:t>
            </a:r>
            <a:r>
              <a:rPr lang="en-US" sz="1200" dirty="0">
                <a:solidFill>
                  <a:srgbClr val="000000"/>
                </a:solidFill>
              </a:rPr>
              <a:t> et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osuer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bili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rae</a:t>
            </a:r>
            <a:r>
              <a:rPr lang="en-US" sz="1200" dirty="0">
                <a:solidFill>
                  <a:srgbClr val="000000"/>
                </a:solidFill>
              </a:rPr>
              <a:t>; Aenean </a:t>
            </a:r>
            <a:r>
              <a:rPr lang="en-US" sz="1200" dirty="0" err="1">
                <a:solidFill>
                  <a:srgbClr val="000000"/>
                </a:solidFill>
              </a:rPr>
              <a:t>effici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lacer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ssa</a:t>
            </a:r>
            <a:r>
              <a:rPr lang="en-US" sz="1200" dirty="0">
                <a:solidFill>
                  <a:srgbClr val="000000"/>
                </a:solidFill>
              </a:rPr>
              <a:t>. Donec pulvinar fermentum ex </a:t>
            </a:r>
            <a:r>
              <a:rPr lang="en-US" sz="1200" dirty="0" err="1">
                <a:solidFill>
                  <a:srgbClr val="000000"/>
                </a:solidFill>
              </a:rPr>
              <a:t>eu</a:t>
            </a:r>
            <a:r>
              <a:rPr lang="en-US" sz="1200" dirty="0">
                <a:solidFill>
                  <a:srgbClr val="000000"/>
                </a:solidFill>
              </a:rPr>
              <a:t> gravida.</a:t>
            </a:r>
          </a:p>
          <a:p>
            <a:pPr marL="180000" lvl="0" indent="-180000">
              <a:spcAft>
                <a:spcPts val="1600"/>
              </a:spcAft>
              <a:buClr>
                <a:srgbClr val="0925E2"/>
              </a:buClr>
              <a:defRPr/>
            </a:pPr>
            <a:r>
              <a:rPr lang="en-US" sz="1200" dirty="0" err="1">
                <a:solidFill>
                  <a:srgbClr val="000000"/>
                </a:solidFill>
              </a:rPr>
              <a:t>Fusce</a:t>
            </a:r>
            <a:r>
              <a:rPr lang="en-US" sz="1200" dirty="0">
                <a:solidFill>
                  <a:srgbClr val="000000"/>
                </a:solidFill>
              </a:rPr>
              <a:t> porta </a:t>
            </a:r>
            <a:r>
              <a:rPr lang="en-US" sz="1200" dirty="0" err="1">
                <a:solidFill>
                  <a:srgbClr val="000000"/>
                </a:solidFill>
              </a:rPr>
              <a:t>facilis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rat</a:t>
            </a:r>
            <a:r>
              <a:rPr lang="en-US" sz="1200" dirty="0">
                <a:solidFill>
                  <a:srgbClr val="000000"/>
                </a:solidFill>
              </a:rPr>
              <a:t>, id </a:t>
            </a:r>
            <a:r>
              <a:rPr lang="en-US" sz="1200" dirty="0" err="1">
                <a:solidFill>
                  <a:srgbClr val="000000"/>
                </a:solidFill>
              </a:rPr>
              <a:t>moll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lacer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Nullam</a:t>
            </a:r>
            <a:r>
              <a:rPr lang="en-US" sz="1200" dirty="0">
                <a:solidFill>
                  <a:srgbClr val="000000"/>
                </a:solidFill>
              </a:rPr>
              <a:t> auctor ligula ac </a:t>
            </a:r>
            <a:r>
              <a:rPr lang="en-US" sz="1200" dirty="0" err="1">
                <a:solidFill>
                  <a:srgbClr val="000000"/>
                </a:solidFill>
              </a:rPr>
              <a:t>arcu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acilis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incidunt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Quisqu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ec</a:t>
            </a:r>
            <a:r>
              <a:rPr lang="en-US" sz="1200" dirty="0">
                <a:solidFill>
                  <a:srgbClr val="000000"/>
                </a:solidFill>
              </a:rPr>
              <a:t> ex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ti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ndimentum</a:t>
            </a:r>
            <a:r>
              <a:rPr lang="en-US" sz="1200" dirty="0">
                <a:solidFill>
                  <a:srgbClr val="000000"/>
                </a:solidFill>
              </a:rPr>
              <a:t> sed diam in </a:t>
            </a:r>
            <a:r>
              <a:rPr lang="en-US" sz="1200" dirty="0" err="1">
                <a:solidFill>
                  <a:srgbClr val="000000"/>
                </a:solidFill>
              </a:rPr>
              <a:t>suscipit</a:t>
            </a:r>
            <a:r>
              <a:rPr lang="en-US" sz="1200" dirty="0">
                <a:solidFill>
                  <a:srgbClr val="000000"/>
                </a:solidFill>
              </a:rPr>
              <a:t>. Maecenas </a:t>
            </a:r>
            <a:r>
              <a:rPr lang="en-US" sz="1200" dirty="0" err="1">
                <a:solidFill>
                  <a:srgbClr val="000000"/>
                </a:solidFill>
              </a:rPr>
              <a:t>lobort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urpis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sagitt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gestas</a:t>
            </a:r>
            <a:r>
              <a:rPr lang="en-US" sz="1200" dirty="0">
                <a:solidFill>
                  <a:srgbClr val="000000"/>
                </a:solidFill>
              </a:rPr>
              <a:t>. Vestibulum </a:t>
            </a:r>
            <a:r>
              <a:rPr lang="en-US" sz="1200" dirty="0" err="1">
                <a:solidFill>
                  <a:srgbClr val="000000"/>
                </a:solidFill>
              </a:rPr>
              <a:t>facilisis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er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porta </a:t>
            </a:r>
            <a:r>
              <a:rPr lang="en-US" sz="1200" dirty="0" err="1">
                <a:solidFill>
                  <a:srgbClr val="000000"/>
                </a:solidFill>
              </a:rPr>
              <a:t>ornare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er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rn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utr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urpis</a:t>
            </a:r>
            <a:r>
              <a:rPr lang="en-US" sz="1200" dirty="0">
                <a:solidFill>
                  <a:srgbClr val="000000"/>
                </a:solidFill>
              </a:rPr>
              <a:t>, vitae fermentum </a:t>
            </a:r>
            <a:r>
              <a:rPr lang="en-US" sz="1200" dirty="0" err="1">
                <a:solidFill>
                  <a:srgbClr val="000000"/>
                </a:solidFill>
              </a:rPr>
              <a:t>met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rna</a:t>
            </a:r>
            <a:r>
              <a:rPr lang="en-US" sz="1200" dirty="0">
                <a:solidFill>
                  <a:srgbClr val="000000"/>
                </a:solidFill>
              </a:rPr>
              <a:t> ac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Maur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gesta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eo</a:t>
            </a:r>
            <a:r>
              <a:rPr lang="en-US" sz="1200" dirty="0">
                <a:solidFill>
                  <a:srgbClr val="000000"/>
                </a:solidFill>
              </a:rPr>
              <a:t>, id </a:t>
            </a:r>
            <a:r>
              <a:rPr lang="en-US" sz="1200" dirty="0" err="1">
                <a:solidFill>
                  <a:srgbClr val="000000"/>
                </a:solidFill>
              </a:rPr>
              <a:t>consequat</a:t>
            </a:r>
            <a:r>
              <a:rPr lang="en-US" sz="1200" dirty="0">
                <a:solidFill>
                  <a:srgbClr val="000000"/>
                </a:solidFill>
              </a:rPr>
              <a:t> ligula </a:t>
            </a:r>
            <a:r>
              <a:rPr lang="en-US" sz="1200" dirty="0" err="1">
                <a:solidFill>
                  <a:srgbClr val="000000"/>
                </a:solidFill>
              </a:rPr>
              <a:t>placerat</a:t>
            </a:r>
            <a:r>
              <a:rPr lang="en-US" sz="1200" dirty="0">
                <a:solidFill>
                  <a:srgbClr val="000000"/>
                </a:solidFill>
              </a:rPr>
              <a:t> vel. Donec </a:t>
            </a:r>
            <a:r>
              <a:rPr lang="en-US" sz="1200" dirty="0" err="1">
                <a:solidFill>
                  <a:srgbClr val="000000"/>
                </a:solidFill>
              </a:rPr>
              <a:t>facilis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ec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ellus</a:t>
            </a:r>
            <a:r>
              <a:rPr lang="en-US" sz="1200" dirty="0">
                <a:solidFill>
                  <a:srgbClr val="000000"/>
                </a:solidFill>
              </a:rPr>
              <a:t> vitae </a:t>
            </a:r>
            <a:r>
              <a:rPr lang="en-US" sz="1200" dirty="0" err="1">
                <a:solidFill>
                  <a:srgbClr val="000000"/>
                </a:solidFill>
              </a:rPr>
              <a:t>mollis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tiam</a:t>
            </a:r>
            <a:r>
              <a:rPr lang="en-US" sz="1200" dirty="0">
                <a:solidFill>
                  <a:srgbClr val="000000"/>
                </a:solidFill>
              </a:rPr>
              <a:t> in </a:t>
            </a:r>
            <a:r>
              <a:rPr lang="en-US" sz="1200" dirty="0" err="1">
                <a:solidFill>
                  <a:srgbClr val="000000"/>
                </a:solidFill>
              </a:rPr>
              <a:t>tell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retium</a:t>
            </a:r>
            <a:r>
              <a:rPr lang="en-US" sz="1200" dirty="0">
                <a:solidFill>
                  <a:srgbClr val="000000"/>
                </a:solidFill>
              </a:rPr>
              <a:t> ligula cursus </a:t>
            </a:r>
            <a:r>
              <a:rPr lang="en-US" sz="1200" dirty="0" err="1">
                <a:solidFill>
                  <a:srgbClr val="000000"/>
                </a:solidFill>
              </a:rPr>
              <a:t>sollicitudin</a:t>
            </a:r>
            <a:r>
              <a:rPr lang="en-US" sz="1200" dirty="0">
                <a:solidFill>
                  <a:srgbClr val="000000"/>
                </a:solidFill>
              </a:rPr>
              <a:t> vel in diam.</a:t>
            </a:r>
          </a:p>
          <a:p>
            <a:pPr marL="180000" lvl="0" indent="-180000">
              <a:spcAft>
                <a:spcPts val="1600"/>
              </a:spcAft>
              <a:buClr>
                <a:srgbClr val="0925E2"/>
              </a:buClr>
              <a:defRPr/>
            </a:pP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bibend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rnar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osuere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id </a:t>
            </a:r>
            <a:r>
              <a:rPr lang="en-US" sz="1200" dirty="0" err="1">
                <a:solidFill>
                  <a:srgbClr val="000000"/>
                </a:solidFill>
              </a:rPr>
              <a:t>nunc</a:t>
            </a:r>
            <a:r>
              <a:rPr lang="en-US" sz="1200" dirty="0">
                <a:solidFill>
                  <a:srgbClr val="000000"/>
                </a:solidFill>
              </a:rPr>
              <a:t> vitae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tt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ngue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pretium</a:t>
            </a:r>
            <a:r>
              <a:rPr lang="en-US" sz="1200" dirty="0">
                <a:solidFill>
                  <a:srgbClr val="000000"/>
                </a:solidFill>
              </a:rPr>
              <a:t> magna. </a:t>
            </a:r>
            <a:r>
              <a:rPr lang="en-US" sz="1200" dirty="0" err="1">
                <a:solidFill>
                  <a:srgbClr val="000000"/>
                </a:solidFill>
              </a:rPr>
              <a:t>Praesent</a:t>
            </a:r>
            <a:r>
              <a:rPr lang="en-US" sz="1200" dirty="0">
                <a:solidFill>
                  <a:srgbClr val="000000"/>
                </a:solidFill>
              </a:rPr>
              <a:t> vitae ligula </a:t>
            </a:r>
            <a:r>
              <a:rPr lang="en-US" sz="1200" dirty="0" err="1">
                <a:solidFill>
                  <a:srgbClr val="000000"/>
                </a:solidFill>
              </a:rPr>
              <a:t>suscipi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eleifend</a:t>
            </a:r>
            <a:r>
              <a:rPr lang="en-US" sz="1200" dirty="0">
                <a:solidFill>
                  <a:srgbClr val="000000"/>
                </a:solidFill>
              </a:rPr>
              <a:t> lorem </a:t>
            </a:r>
            <a:r>
              <a:rPr lang="en-US" sz="1200" dirty="0" err="1">
                <a:solidFill>
                  <a:srgbClr val="000000"/>
                </a:solidFill>
              </a:rPr>
              <a:t>ege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pretium</a:t>
            </a:r>
            <a:r>
              <a:rPr lang="en-US" sz="1200" dirty="0">
                <a:solidFill>
                  <a:srgbClr val="000000"/>
                </a:solidFill>
              </a:rPr>
              <a:t> ligula. Lorem ipsum dolor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consecte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dipiscing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Vivamus</a:t>
            </a:r>
            <a:r>
              <a:rPr lang="en-US" sz="1200" dirty="0">
                <a:solidFill>
                  <a:srgbClr val="000000"/>
                </a:solidFill>
              </a:rPr>
              <a:t> et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 ex. </a:t>
            </a:r>
            <a:r>
              <a:rPr lang="en-US" sz="1200" dirty="0" err="1">
                <a:solidFill>
                  <a:srgbClr val="000000"/>
                </a:solidFill>
              </a:rPr>
              <a:t>Quisque</a:t>
            </a:r>
            <a:r>
              <a:rPr lang="en-US" sz="1200" dirty="0">
                <a:solidFill>
                  <a:srgbClr val="000000"/>
                </a:solidFill>
              </a:rPr>
              <a:t> porta fermentum </a:t>
            </a:r>
            <a:r>
              <a:rPr lang="en-US" sz="1200" dirty="0" err="1">
                <a:solidFill>
                  <a:srgbClr val="000000"/>
                </a:solidFill>
              </a:rPr>
              <a:t>mauris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hendrerit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tiam</a:t>
            </a:r>
            <a:r>
              <a:rPr lang="en-US" sz="1200" dirty="0">
                <a:solidFill>
                  <a:srgbClr val="000000"/>
                </a:solidFill>
              </a:rPr>
              <a:t>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et</a:t>
            </a:r>
            <a:r>
              <a:rPr lang="en-US" sz="1200" dirty="0">
                <a:solidFill>
                  <a:srgbClr val="000000"/>
                </a:solidFill>
              </a:rPr>
              <a:t> mi,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incidu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uri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0" name="Текст 8">
            <a:extLst>
              <a:ext uri="{FF2B5EF4-FFF2-40B4-BE49-F238E27FC236}">
                <a16:creationId xmlns="" xmlns:a16="http://schemas.microsoft.com/office/drawing/2014/main" id="{04DBEE23-5AF3-4CBB-B6BE-027E156FBC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864071492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9E92C9B-C3D1-4980-8F25-5B00F151D9A1}"/>
              </a:ext>
            </a:extLst>
          </p:cNvPr>
          <p:cNvSpPr/>
          <p:nvPr userDrawn="1"/>
        </p:nvSpPr>
        <p:spPr>
          <a:xfrm>
            <a:off x="10784114" y="217714"/>
            <a:ext cx="1074057" cy="1050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Текст 31">
            <a:extLst>
              <a:ext uri="{FF2B5EF4-FFF2-40B4-BE49-F238E27FC236}">
                <a16:creationId xmlns="" xmlns:a16="http://schemas.microsoft.com/office/drawing/2014/main" id="{9B15E909-E4A0-4912-8A49-B5B1707BEA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92505" y="1282101"/>
            <a:ext cx="8154167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b="1" kern="120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62" name="Текст 31">
            <a:extLst>
              <a:ext uri="{FF2B5EF4-FFF2-40B4-BE49-F238E27FC236}">
                <a16:creationId xmlns="" xmlns:a16="http://schemas.microsoft.com/office/drawing/2014/main" id="{200801D4-DABE-4842-80AF-A822318202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92506" y="1555830"/>
            <a:ext cx="840381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Текстовый блок в 2 строки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9E87AC8D-4D37-4109-84BA-3FB218114C90}"/>
              </a:ext>
            </a:extLst>
          </p:cNvPr>
          <p:cNvSpPr/>
          <p:nvPr userDrawn="1"/>
        </p:nvSpPr>
        <p:spPr>
          <a:xfrm>
            <a:off x="1388642" y="5137739"/>
            <a:ext cx="11030840" cy="21236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>
            <a:spAutoFit/>
          </a:bodyPr>
          <a:lstStyle/>
          <a:p>
            <a:pPr>
              <a:buClr>
                <a:srgbClr val="1937FF"/>
              </a:buClr>
              <a:defRPr/>
            </a:pPr>
            <a:r>
              <a:rPr lang="ru-RU" sz="13800" b="1" spc="100" dirty="0">
                <a:solidFill>
                  <a:schemeClr val="bg1">
                    <a:lumMod val="85000"/>
                    <a:alpha val="68000"/>
                  </a:schemeClr>
                </a:solidFill>
              </a:rPr>
              <a:t>Содержание</a:t>
            </a:r>
          </a:p>
        </p:txBody>
      </p:sp>
      <p:sp>
        <p:nvSpPr>
          <p:cNvPr id="36" name="Текст 82">
            <a:extLst>
              <a:ext uri="{FF2B5EF4-FFF2-40B4-BE49-F238E27FC236}">
                <a16:creationId xmlns="" xmlns:a16="http://schemas.microsoft.com/office/drawing/2014/main" id="{44BC5CFB-1DD7-4515-8FCF-3ACD7E878CF5}"/>
              </a:ext>
            </a:extLst>
          </p:cNvPr>
          <p:cNvSpPr txBox="1">
            <a:spLocks/>
          </p:cNvSpPr>
          <p:nvPr/>
        </p:nvSpPr>
        <p:spPr>
          <a:xfrm>
            <a:off x="1696434" y="1232050"/>
            <a:ext cx="628377" cy="6093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400" b="1" dirty="0">
                <a:solidFill>
                  <a:schemeClr val="bg1">
                    <a:lumMod val="75000"/>
                  </a:schemeClr>
                </a:solidFill>
              </a:rPr>
              <a:t>01</a:t>
            </a:r>
          </a:p>
        </p:txBody>
      </p:sp>
      <p:sp>
        <p:nvSpPr>
          <p:cNvPr id="43" name="Текст 82">
            <a:extLst>
              <a:ext uri="{FF2B5EF4-FFF2-40B4-BE49-F238E27FC236}">
                <a16:creationId xmlns="" xmlns:a16="http://schemas.microsoft.com/office/drawing/2014/main" id="{A133D494-977A-4236-A02D-2EE72F2405C8}"/>
              </a:ext>
            </a:extLst>
          </p:cNvPr>
          <p:cNvSpPr txBox="1">
            <a:spLocks/>
          </p:cNvSpPr>
          <p:nvPr/>
        </p:nvSpPr>
        <p:spPr>
          <a:xfrm>
            <a:off x="1696434" y="2235700"/>
            <a:ext cx="628377" cy="6093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400" b="1" dirty="0">
                <a:solidFill>
                  <a:schemeClr val="bg1">
                    <a:lumMod val="75000"/>
                  </a:schemeClr>
                </a:solidFill>
              </a:rPr>
              <a:t>0</a:t>
            </a:r>
            <a:r>
              <a:rPr lang="en-US" sz="4400" b="1" dirty="0">
                <a:solidFill>
                  <a:schemeClr val="bg1">
                    <a:lumMod val="75000"/>
                  </a:schemeClr>
                </a:solidFill>
              </a:rPr>
              <a:t>2</a:t>
            </a:r>
            <a:endParaRPr lang="ru-RU" sz="4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8" name="Текст 82">
            <a:extLst>
              <a:ext uri="{FF2B5EF4-FFF2-40B4-BE49-F238E27FC236}">
                <a16:creationId xmlns="" xmlns:a16="http://schemas.microsoft.com/office/drawing/2014/main" id="{BC66824A-F583-48E2-BF0A-F679BB6F09FE}"/>
              </a:ext>
            </a:extLst>
          </p:cNvPr>
          <p:cNvSpPr txBox="1">
            <a:spLocks/>
          </p:cNvSpPr>
          <p:nvPr/>
        </p:nvSpPr>
        <p:spPr>
          <a:xfrm>
            <a:off x="1696434" y="3239350"/>
            <a:ext cx="628377" cy="6093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400" b="1" dirty="0">
                <a:solidFill>
                  <a:schemeClr val="bg1">
                    <a:lumMod val="75000"/>
                  </a:schemeClr>
                </a:solidFill>
              </a:rPr>
              <a:t>0</a:t>
            </a:r>
            <a:r>
              <a:rPr lang="en-US" sz="4400" b="1" dirty="0">
                <a:solidFill>
                  <a:schemeClr val="bg1">
                    <a:lumMod val="75000"/>
                  </a:schemeClr>
                </a:solidFill>
              </a:rPr>
              <a:t>3</a:t>
            </a:r>
            <a:endParaRPr lang="ru-RU" sz="4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5" name="Текст 82">
            <a:extLst>
              <a:ext uri="{FF2B5EF4-FFF2-40B4-BE49-F238E27FC236}">
                <a16:creationId xmlns="" xmlns:a16="http://schemas.microsoft.com/office/drawing/2014/main" id="{AF2FEF59-9DB6-4F6C-ADB4-5E3DE81CD295}"/>
              </a:ext>
            </a:extLst>
          </p:cNvPr>
          <p:cNvSpPr txBox="1">
            <a:spLocks/>
          </p:cNvSpPr>
          <p:nvPr/>
        </p:nvSpPr>
        <p:spPr>
          <a:xfrm>
            <a:off x="1696434" y="4242999"/>
            <a:ext cx="628377" cy="6093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400" b="1" dirty="0">
                <a:solidFill>
                  <a:schemeClr val="bg1">
                    <a:lumMod val="75000"/>
                  </a:schemeClr>
                </a:solidFill>
              </a:rPr>
              <a:t>0</a:t>
            </a:r>
            <a:r>
              <a:rPr lang="en-US" sz="4400" b="1" dirty="0">
                <a:solidFill>
                  <a:schemeClr val="bg1">
                    <a:lumMod val="75000"/>
                  </a:schemeClr>
                </a:solidFill>
              </a:rPr>
              <a:t>4</a:t>
            </a:r>
            <a:endParaRPr lang="ru-RU" sz="4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85" name="Текст 31">
            <a:extLst>
              <a:ext uri="{FF2B5EF4-FFF2-40B4-BE49-F238E27FC236}">
                <a16:creationId xmlns="" xmlns:a16="http://schemas.microsoft.com/office/drawing/2014/main" id="{B58226EC-CCD0-400B-B164-9E023861458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392505" y="2286132"/>
            <a:ext cx="8154167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b="1" kern="120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86" name="Текст 31">
            <a:extLst>
              <a:ext uri="{FF2B5EF4-FFF2-40B4-BE49-F238E27FC236}">
                <a16:creationId xmlns="" xmlns:a16="http://schemas.microsoft.com/office/drawing/2014/main" id="{4891E504-7C5F-4CC0-B30D-9738A1F9015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392506" y="2559861"/>
            <a:ext cx="840381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Текстовый блок в 2 строки</a:t>
            </a:r>
          </a:p>
        </p:txBody>
      </p:sp>
      <p:sp>
        <p:nvSpPr>
          <p:cNvPr id="87" name="Текст 31">
            <a:extLst>
              <a:ext uri="{FF2B5EF4-FFF2-40B4-BE49-F238E27FC236}">
                <a16:creationId xmlns="" xmlns:a16="http://schemas.microsoft.com/office/drawing/2014/main" id="{19194CF9-1425-4F7A-BBE7-3681576F8BA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392505" y="3247058"/>
            <a:ext cx="8154167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b="1" kern="120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88" name="Текст 31">
            <a:extLst>
              <a:ext uri="{FF2B5EF4-FFF2-40B4-BE49-F238E27FC236}">
                <a16:creationId xmlns="" xmlns:a16="http://schemas.microsoft.com/office/drawing/2014/main" id="{CAEB713A-5A36-4B7C-AE86-5AFF50D4D7F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392506" y="3520787"/>
            <a:ext cx="840381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Текстовый блок в 2 строки</a:t>
            </a:r>
          </a:p>
        </p:txBody>
      </p:sp>
      <p:sp>
        <p:nvSpPr>
          <p:cNvPr id="89" name="Текст 31">
            <a:extLst>
              <a:ext uri="{FF2B5EF4-FFF2-40B4-BE49-F238E27FC236}">
                <a16:creationId xmlns="" xmlns:a16="http://schemas.microsoft.com/office/drawing/2014/main" id="{F4A91393-D990-46E2-BD0D-8C2E5AAC2CA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92505" y="4256001"/>
            <a:ext cx="8154167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b="1" kern="120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90" name="Текст 31">
            <a:extLst>
              <a:ext uri="{FF2B5EF4-FFF2-40B4-BE49-F238E27FC236}">
                <a16:creationId xmlns="" xmlns:a16="http://schemas.microsoft.com/office/drawing/2014/main" id="{613F87FC-2323-45B3-BC75-5EE44594AC8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92506" y="4529730"/>
            <a:ext cx="840381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Текстовый блок 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42350783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22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58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EA5E833F-D606-4328-B2C0-3D231EBDF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Диаграмма 23">
            <a:extLst>
              <a:ext uri="{FF2B5EF4-FFF2-40B4-BE49-F238E27FC236}">
                <a16:creationId xmlns="" xmlns:a16="http://schemas.microsoft.com/office/drawing/2014/main" id="{FC4915BF-04DD-4EBD-9E3F-A9FF64EFFB7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50863" y="1742067"/>
            <a:ext cx="5016500" cy="46746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/>
          </a:p>
        </p:txBody>
      </p:sp>
      <p:sp>
        <p:nvSpPr>
          <p:cNvPr id="57" name="Диаграмма 23">
            <a:extLst>
              <a:ext uri="{FF2B5EF4-FFF2-40B4-BE49-F238E27FC236}">
                <a16:creationId xmlns="" xmlns:a16="http://schemas.microsoft.com/office/drawing/2014/main" id="{FBE7C759-305F-4D24-AFEE-DA0EEABF0EE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88287" y="1742067"/>
            <a:ext cx="5016500" cy="46746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/>
          </a:p>
        </p:txBody>
      </p:sp>
      <p:sp>
        <p:nvSpPr>
          <p:cNvPr id="27" name="Текст 26">
            <a:extLst>
              <a:ext uri="{FF2B5EF4-FFF2-40B4-BE49-F238E27FC236}">
                <a16:creationId xmlns="" xmlns:a16="http://schemas.microsoft.com/office/drawing/2014/main" id="{79B209C3-A385-4DC0-86E4-4E385AE4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1198877"/>
            <a:ext cx="5016500" cy="2215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58" name="Текст 26">
            <a:extLst>
              <a:ext uri="{FF2B5EF4-FFF2-40B4-BE49-F238E27FC236}">
                <a16:creationId xmlns="" xmlns:a16="http://schemas.microsoft.com/office/drawing/2014/main" id="{0C60C521-5E0D-409D-AAAB-7683B694A6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1415343"/>
            <a:ext cx="5016500" cy="1661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единицы измерения</a:t>
            </a:r>
          </a:p>
        </p:txBody>
      </p:sp>
      <p:sp>
        <p:nvSpPr>
          <p:cNvPr id="60" name="Текст 26">
            <a:extLst>
              <a:ext uri="{FF2B5EF4-FFF2-40B4-BE49-F238E27FC236}">
                <a16:creationId xmlns="" xmlns:a16="http://schemas.microsoft.com/office/drawing/2014/main" id="{69C8D5B2-A78E-48D5-BC21-EB8A719E34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88287" y="1198877"/>
            <a:ext cx="5016500" cy="2215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61" name="Текст 26">
            <a:extLst>
              <a:ext uri="{FF2B5EF4-FFF2-40B4-BE49-F238E27FC236}">
                <a16:creationId xmlns="" xmlns:a16="http://schemas.microsoft.com/office/drawing/2014/main" id="{9BE2E889-0E7B-487F-BDEB-D32048454D0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8287" y="1415343"/>
            <a:ext cx="5016500" cy="1661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единицы измерения</a:t>
            </a:r>
          </a:p>
        </p:txBody>
      </p:sp>
      <p:sp>
        <p:nvSpPr>
          <p:cNvPr id="16" name="Текст 8">
            <a:extLst>
              <a:ext uri="{FF2B5EF4-FFF2-40B4-BE49-F238E27FC236}">
                <a16:creationId xmlns="" xmlns:a16="http://schemas.microsoft.com/office/drawing/2014/main" id="{E19ED931-70C1-47F2-83F3-4C4246D646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297916171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и бул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04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82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EA5E833F-D606-4328-B2C0-3D231EBDF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Диаграмма 23">
            <a:extLst>
              <a:ext uri="{FF2B5EF4-FFF2-40B4-BE49-F238E27FC236}">
                <a16:creationId xmlns="" xmlns:a16="http://schemas.microsoft.com/office/drawing/2014/main" id="{FC4915BF-04DD-4EBD-9E3F-A9FF64EFFB7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50862" y="1877167"/>
            <a:ext cx="5545137" cy="45395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/>
          </a:p>
        </p:txBody>
      </p:sp>
      <p:sp>
        <p:nvSpPr>
          <p:cNvPr id="27" name="Текст 26">
            <a:extLst>
              <a:ext uri="{FF2B5EF4-FFF2-40B4-BE49-F238E27FC236}">
                <a16:creationId xmlns="" xmlns:a16="http://schemas.microsoft.com/office/drawing/2014/main" id="{79B209C3-A385-4DC0-86E4-4E385AE4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1278035"/>
            <a:ext cx="50165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58" name="Текст 26">
            <a:extLst>
              <a:ext uri="{FF2B5EF4-FFF2-40B4-BE49-F238E27FC236}">
                <a16:creationId xmlns="" xmlns:a16="http://schemas.microsoft.com/office/drawing/2014/main" id="{0C60C521-5E0D-409D-AAAB-7683B694A6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1494501"/>
            <a:ext cx="5016500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единицы измерения, год</a:t>
            </a:r>
          </a:p>
        </p:txBody>
      </p:sp>
      <p:sp>
        <p:nvSpPr>
          <p:cNvPr id="59" name="Текст 26">
            <a:extLst>
              <a:ext uri="{FF2B5EF4-FFF2-40B4-BE49-F238E27FC236}">
                <a16:creationId xmlns="" xmlns:a16="http://schemas.microsoft.com/office/drawing/2014/main" id="{B0A4A96C-154E-449E-BB46-FC90D204C5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43914" y="1589904"/>
            <a:ext cx="4997224" cy="482677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eiusmod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="" xmlns:a16="http://schemas.microsoft.com/office/drawing/2014/main" id="{1D31311C-DDC1-47A4-8F33-04B83E54E7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43913" y="1278035"/>
            <a:ext cx="499722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Добавьте основные выводы по итогам анализа</a:t>
            </a:r>
          </a:p>
        </p:txBody>
      </p:sp>
      <p:sp>
        <p:nvSpPr>
          <p:cNvPr id="15" name="Текст 8">
            <a:extLst>
              <a:ext uri="{FF2B5EF4-FFF2-40B4-BE49-F238E27FC236}">
                <a16:creationId xmlns="" xmlns:a16="http://schemas.microsoft.com/office/drawing/2014/main" id="{D078FEFB-BD2B-4E91-8A03-D9CD89B963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03156057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или граф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17A7AE42-E196-437E-9C74-F0C0DF0B7C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233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6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="" xmlns:a16="http://schemas.microsoft.com/office/drawing/2014/main" id="{17A7AE42-E196-437E-9C74-F0C0DF0B7C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32D4B18-544F-4124-BCA0-41540F8442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9D5186-85BD-4647-9A01-8226F56382D2}" type="slidenum">
              <a:rPr lang="ru-RU" smtClean="0"/>
              <a:t>‹#›</a:t>
            </a:fld>
            <a:endParaRPr lang="ru-RU"/>
          </a:p>
        </p:txBody>
      </p:sp>
      <p:sp>
        <p:nvSpPr>
          <p:cNvPr id="7" name="Текст 6">
            <a:extLst>
              <a:ext uri="{FF2B5EF4-FFF2-40B4-BE49-F238E27FC236}">
                <a16:creationId xmlns="" xmlns:a16="http://schemas.microsoft.com/office/drawing/2014/main" id="{2E9DA3C7-B1D9-43E9-9041-31196FFA4E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268413"/>
            <a:ext cx="10150475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ru-RU" sz="1400" b="1" kern="1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ru-RU" dirty="0"/>
              <a:t>Название графика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="" xmlns:a16="http://schemas.microsoft.com/office/drawing/2014/main" id="{4284EA51-2435-4205-AB46-F1C14FBAC9CB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6BCF3CDF-8498-4C98-842D-1492D3CB7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="" xmlns:a16="http://schemas.microsoft.com/office/drawing/2014/main" id="{DB1597A9-57B6-47D9-9719-46559D376F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="" xmlns:a16="http://schemas.microsoft.com/office/drawing/2014/main" id="{D75A0CED-1997-475F-9FC5-3DCCDC240A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1505873"/>
            <a:ext cx="5016500" cy="1661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единицы измерения</a:t>
            </a:r>
          </a:p>
        </p:txBody>
      </p:sp>
    </p:spTree>
    <p:extLst>
      <p:ext uri="{BB962C8B-B14F-4D97-AF65-F5344CB8AC3E}">
        <p14:creationId xmlns:p14="http://schemas.microsoft.com/office/powerpoint/2010/main" val="2124984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бл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879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30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342" y="481587"/>
            <a:ext cx="7595996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0B149FF5-298F-438A-97AE-AF053CEAFFDA}"/>
              </a:ext>
            </a:extLst>
          </p:cNvPr>
          <p:cNvSpPr/>
          <p:nvPr userDrawn="1"/>
        </p:nvSpPr>
        <p:spPr>
          <a:xfrm>
            <a:off x="1" y="0"/>
            <a:ext cx="2717799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8000" rIns="216000" rtlCol="0" anchor="ctr"/>
          <a:lstStyle/>
          <a:p>
            <a:pPr lvl="0">
              <a:lnSpc>
                <a:spcPct val="110000"/>
              </a:lnSpc>
              <a:spcAft>
                <a:spcPts val="1200"/>
              </a:spcAft>
              <a:buClr>
                <a:srgbClr val="1937FF"/>
              </a:buClr>
              <a:defRPr/>
            </a:pPr>
            <a:endParaRPr lang="ru-RU" sz="1200" dirty="0">
              <a:solidFill>
                <a:prstClr val="white">
                  <a:alpha val="70000"/>
                </a:prstClr>
              </a:solidFill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="" xmlns:a16="http://schemas.microsoft.com/office/drawing/2014/main" id="{FC3032E9-514D-49ED-AE2F-1C7DCB7B6D6E}"/>
              </a:ext>
            </a:extLst>
          </p:cNvPr>
          <p:cNvCxnSpPr>
            <a:cxnSpLocks/>
          </p:cNvCxnSpPr>
          <p:nvPr userDrawn="1"/>
        </p:nvCxnSpPr>
        <p:spPr>
          <a:xfrm flipV="1">
            <a:off x="2946245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>
            <a:extLst>
              <a:ext uri="{FF2B5EF4-FFF2-40B4-BE49-F238E27FC236}">
                <a16:creationId xmlns="" xmlns:a16="http://schemas.microsoft.com/office/drawing/2014/main" id="{F43F0637-C2FE-420F-A337-FE07422E59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46248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38544824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бл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139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54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E1FF9118-2B4B-49FD-A1EF-ED20E6021692}"/>
              </a:ext>
            </a:extLst>
          </p:cNvPr>
          <p:cNvSpPr/>
          <p:nvPr userDrawn="1"/>
        </p:nvSpPr>
        <p:spPr>
          <a:xfrm>
            <a:off x="9474201" y="0"/>
            <a:ext cx="2717799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8000" rIns="216000" rtlCol="0" anchor="ctr"/>
          <a:lstStyle/>
          <a:p>
            <a:pPr lvl="0">
              <a:lnSpc>
                <a:spcPct val="110000"/>
              </a:lnSpc>
              <a:spcAft>
                <a:spcPts val="1200"/>
              </a:spcAft>
              <a:buClr>
                <a:srgbClr val="1937FF"/>
              </a:buClr>
              <a:defRPr/>
            </a:pPr>
            <a:endParaRPr lang="ru-RU" sz="1200" dirty="0">
              <a:solidFill>
                <a:prstClr val="white">
                  <a:alpha val="70000"/>
                </a:prstClr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481587"/>
            <a:ext cx="8647458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EA5E833F-D606-4328-B2C0-3D231EBDF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олилиния: фигура 10">
            <a:extLst>
              <a:ext uri="{FF2B5EF4-FFF2-40B4-BE49-F238E27FC236}">
                <a16:creationId xmlns="" xmlns:a16="http://schemas.microsoft.com/office/drawing/2014/main" id="{189DA1CC-EB83-420E-A1D3-1CDDF7BDE371}"/>
              </a:ext>
            </a:extLst>
          </p:cNvPr>
          <p:cNvSpPr/>
          <p:nvPr userDrawn="1"/>
        </p:nvSpPr>
        <p:spPr>
          <a:xfrm>
            <a:off x="11010898" y="382414"/>
            <a:ext cx="630240" cy="630293"/>
          </a:xfrm>
          <a:custGeom>
            <a:avLst/>
            <a:gdLst>
              <a:gd name="connsiteX0" fmla="*/ 72368 w 572945"/>
              <a:gd name="connsiteY0" fmla="*/ 331981 h 572994"/>
              <a:gd name="connsiteX1" fmla="*/ 73162 w 572945"/>
              <a:gd name="connsiteY1" fmla="*/ 331981 h 572994"/>
              <a:gd name="connsiteX2" fmla="*/ 83827 w 572945"/>
              <a:gd name="connsiteY2" fmla="*/ 339670 h 572994"/>
              <a:gd name="connsiteX3" fmla="*/ 87844 w 572945"/>
              <a:gd name="connsiteY3" fmla="*/ 365115 h 572994"/>
              <a:gd name="connsiteX4" fmla="*/ 85165 w 572945"/>
              <a:gd name="connsiteY4" fmla="*/ 379251 h 572994"/>
              <a:gd name="connsiteX5" fmla="*/ 79660 w 572945"/>
              <a:gd name="connsiteY5" fmla="*/ 383864 h 572994"/>
              <a:gd name="connsiteX6" fmla="*/ 74700 w 572945"/>
              <a:gd name="connsiteY6" fmla="*/ 379797 h 572994"/>
              <a:gd name="connsiteX7" fmla="*/ 72368 w 572945"/>
              <a:gd name="connsiteY7" fmla="*/ 367148 h 572994"/>
              <a:gd name="connsiteX8" fmla="*/ 155153 w 572945"/>
              <a:gd name="connsiteY8" fmla="*/ 330394 h 572994"/>
              <a:gd name="connsiteX9" fmla="*/ 167057 w 572945"/>
              <a:gd name="connsiteY9" fmla="*/ 342100 h 572994"/>
              <a:gd name="connsiteX10" fmla="*/ 170530 w 572945"/>
              <a:gd name="connsiteY10" fmla="*/ 372952 h 572994"/>
              <a:gd name="connsiteX11" fmla="*/ 166462 w 572945"/>
              <a:gd name="connsiteY11" fmla="*/ 404746 h 572994"/>
              <a:gd name="connsiteX12" fmla="*/ 155153 w 572945"/>
              <a:gd name="connsiteY12" fmla="*/ 416601 h 572994"/>
              <a:gd name="connsiteX13" fmla="*/ 144092 w 572945"/>
              <a:gd name="connsiteY13" fmla="*/ 404598 h 572994"/>
              <a:gd name="connsiteX14" fmla="*/ 140025 w 572945"/>
              <a:gd name="connsiteY14" fmla="*/ 373250 h 572994"/>
              <a:gd name="connsiteX15" fmla="*/ 144042 w 572945"/>
              <a:gd name="connsiteY15" fmla="*/ 341951 h 572994"/>
              <a:gd name="connsiteX16" fmla="*/ 155153 w 572945"/>
              <a:gd name="connsiteY16" fmla="*/ 330394 h 572994"/>
              <a:gd name="connsiteX17" fmla="*/ 52379 w 572945"/>
              <a:gd name="connsiteY17" fmla="*/ 314125 h 572994"/>
              <a:gd name="connsiteX18" fmla="*/ 52379 w 572945"/>
              <a:gd name="connsiteY18" fmla="*/ 433515 h 572994"/>
              <a:gd name="connsiteX19" fmla="*/ 72220 w 572945"/>
              <a:gd name="connsiteY19" fmla="*/ 433515 h 572994"/>
              <a:gd name="connsiteX20" fmla="*/ 72220 w 572945"/>
              <a:gd name="connsiteY20" fmla="*/ 398794 h 572994"/>
              <a:gd name="connsiteX21" fmla="*/ 97189 w 572945"/>
              <a:gd name="connsiteY21" fmla="*/ 399149 h 572994"/>
              <a:gd name="connsiteX22" fmla="*/ 100939 w 572945"/>
              <a:gd name="connsiteY22" fmla="*/ 393834 h 572994"/>
              <a:gd name="connsiteX23" fmla="*/ 108032 w 572945"/>
              <a:gd name="connsiteY23" fmla="*/ 360105 h 572994"/>
              <a:gd name="connsiteX24" fmla="*/ 102328 w 572945"/>
              <a:gd name="connsiteY24" fmla="*/ 332824 h 572994"/>
              <a:gd name="connsiteX25" fmla="*/ 73063 w 572945"/>
              <a:gd name="connsiteY25" fmla="*/ 314125 h 572994"/>
              <a:gd name="connsiteX26" fmla="*/ 338331 w 572945"/>
              <a:gd name="connsiteY26" fmla="*/ 311049 h 572994"/>
              <a:gd name="connsiteX27" fmla="*/ 293689 w 572945"/>
              <a:gd name="connsiteY27" fmla="*/ 329154 h 572994"/>
              <a:gd name="connsiteX28" fmla="*/ 279752 w 572945"/>
              <a:gd name="connsiteY28" fmla="*/ 374192 h 572994"/>
              <a:gd name="connsiteX29" fmla="*/ 294880 w 572945"/>
              <a:gd name="connsiteY29" fmla="*/ 419081 h 572994"/>
              <a:gd name="connsiteX30" fmla="*/ 338678 w 572945"/>
              <a:gd name="connsiteY30" fmla="*/ 437185 h 572994"/>
              <a:gd name="connsiteX31" fmla="*/ 339621 w 572945"/>
              <a:gd name="connsiteY31" fmla="*/ 437185 h 572994"/>
              <a:gd name="connsiteX32" fmla="*/ 339621 w 572945"/>
              <a:gd name="connsiteY32" fmla="*/ 416303 h 572994"/>
              <a:gd name="connsiteX33" fmla="*/ 338678 w 572945"/>
              <a:gd name="connsiteY33" fmla="*/ 416303 h 572994"/>
              <a:gd name="connsiteX34" fmla="*/ 309860 w 572945"/>
              <a:gd name="connsiteY34" fmla="*/ 404002 h 572994"/>
              <a:gd name="connsiteX35" fmla="*/ 310108 w 572945"/>
              <a:gd name="connsiteY35" fmla="*/ 404002 h 572994"/>
              <a:gd name="connsiteX36" fmla="*/ 309661 w 572945"/>
              <a:gd name="connsiteY36" fmla="*/ 344084 h 572994"/>
              <a:gd name="connsiteX37" fmla="*/ 338331 w 572945"/>
              <a:gd name="connsiteY37" fmla="*/ 331932 h 572994"/>
              <a:gd name="connsiteX38" fmla="*/ 339273 w 572945"/>
              <a:gd name="connsiteY38" fmla="*/ 331932 h 572994"/>
              <a:gd name="connsiteX39" fmla="*/ 339273 w 572945"/>
              <a:gd name="connsiteY39" fmla="*/ 311049 h 572994"/>
              <a:gd name="connsiteX40" fmla="*/ 263929 w 572945"/>
              <a:gd name="connsiteY40" fmla="*/ 311049 h 572994"/>
              <a:gd name="connsiteX41" fmla="*/ 219287 w 572945"/>
              <a:gd name="connsiteY41" fmla="*/ 329154 h 572994"/>
              <a:gd name="connsiteX42" fmla="*/ 205350 w 572945"/>
              <a:gd name="connsiteY42" fmla="*/ 374192 h 572994"/>
              <a:gd name="connsiteX43" fmla="*/ 220478 w 572945"/>
              <a:gd name="connsiteY43" fmla="*/ 419081 h 572994"/>
              <a:gd name="connsiteX44" fmla="*/ 264276 w 572945"/>
              <a:gd name="connsiteY44" fmla="*/ 437185 h 572994"/>
              <a:gd name="connsiteX45" fmla="*/ 265218 w 572945"/>
              <a:gd name="connsiteY45" fmla="*/ 437185 h 572994"/>
              <a:gd name="connsiteX46" fmla="*/ 265218 w 572945"/>
              <a:gd name="connsiteY46" fmla="*/ 416303 h 572994"/>
              <a:gd name="connsiteX47" fmla="*/ 264276 w 572945"/>
              <a:gd name="connsiteY47" fmla="*/ 416303 h 572994"/>
              <a:gd name="connsiteX48" fmla="*/ 235904 w 572945"/>
              <a:gd name="connsiteY48" fmla="*/ 404002 h 572994"/>
              <a:gd name="connsiteX49" fmla="*/ 235706 w 572945"/>
              <a:gd name="connsiteY49" fmla="*/ 404002 h 572994"/>
              <a:gd name="connsiteX50" fmla="*/ 235259 w 572945"/>
              <a:gd name="connsiteY50" fmla="*/ 344084 h 572994"/>
              <a:gd name="connsiteX51" fmla="*/ 263929 w 572945"/>
              <a:gd name="connsiteY51" fmla="*/ 331932 h 572994"/>
              <a:gd name="connsiteX52" fmla="*/ 264871 w 572945"/>
              <a:gd name="connsiteY52" fmla="*/ 331932 h 572994"/>
              <a:gd name="connsiteX53" fmla="*/ 264871 w 572945"/>
              <a:gd name="connsiteY53" fmla="*/ 311049 h 572994"/>
              <a:gd name="connsiteX54" fmla="*/ 155104 w 572945"/>
              <a:gd name="connsiteY54" fmla="*/ 311049 h 572994"/>
              <a:gd name="connsiteX55" fmla="*/ 130303 w 572945"/>
              <a:gd name="connsiteY55" fmla="*/ 328410 h 572994"/>
              <a:gd name="connsiteX56" fmla="*/ 121474 w 572945"/>
              <a:gd name="connsiteY56" fmla="*/ 373051 h 572994"/>
              <a:gd name="connsiteX57" fmla="*/ 129906 w 572945"/>
              <a:gd name="connsiteY57" fmla="*/ 418635 h 572994"/>
              <a:gd name="connsiteX58" fmla="*/ 155054 w 572945"/>
              <a:gd name="connsiteY58" fmla="*/ 435896 h 572994"/>
              <a:gd name="connsiteX59" fmla="*/ 181293 w 572945"/>
              <a:gd name="connsiteY59" fmla="*/ 417791 h 572994"/>
              <a:gd name="connsiteX60" fmla="*/ 190122 w 572945"/>
              <a:gd name="connsiteY60" fmla="*/ 372853 h 572994"/>
              <a:gd name="connsiteX61" fmla="*/ 181006 w 572945"/>
              <a:gd name="connsiteY61" fmla="*/ 328265 h 572994"/>
              <a:gd name="connsiteX62" fmla="*/ 181045 w 572945"/>
              <a:gd name="connsiteY62" fmla="*/ 328311 h 572994"/>
              <a:gd name="connsiteX63" fmla="*/ 180995 w 572945"/>
              <a:gd name="connsiteY63" fmla="*/ 328212 h 572994"/>
              <a:gd name="connsiteX64" fmla="*/ 181006 w 572945"/>
              <a:gd name="connsiteY64" fmla="*/ 328265 h 572994"/>
              <a:gd name="connsiteX65" fmla="*/ 169916 w 572945"/>
              <a:gd name="connsiteY65" fmla="*/ 315383 h 572994"/>
              <a:gd name="connsiteX66" fmla="*/ 155104 w 572945"/>
              <a:gd name="connsiteY66" fmla="*/ 311049 h 572994"/>
              <a:gd name="connsiteX67" fmla="*/ 515953 w 572945"/>
              <a:gd name="connsiteY67" fmla="*/ 308371 h 572994"/>
              <a:gd name="connsiteX68" fmla="*/ 514416 w 572945"/>
              <a:gd name="connsiteY68" fmla="*/ 310008 h 572994"/>
              <a:gd name="connsiteX69" fmla="*/ 470171 w 572945"/>
              <a:gd name="connsiteY69" fmla="*/ 356236 h 572994"/>
              <a:gd name="connsiteX70" fmla="*/ 470171 w 572945"/>
              <a:gd name="connsiteY70" fmla="*/ 314125 h 572994"/>
              <a:gd name="connsiteX71" fmla="*/ 450826 w 572945"/>
              <a:gd name="connsiteY71" fmla="*/ 314125 h 572994"/>
              <a:gd name="connsiteX72" fmla="*/ 450826 w 572945"/>
              <a:gd name="connsiteY72" fmla="*/ 433813 h 572994"/>
              <a:gd name="connsiteX73" fmla="*/ 470171 w 572945"/>
              <a:gd name="connsiteY73" fmla="*/ 433813 h 572994"/>
              <a:gd name="connsiteX74" fmla="*/ 470171 w 572945"/>
              <a:gd name="connsiteY74" fmla="*/ 384658 h 572994"/>
              <a:gd name="connsiteX75" fmla="*/ 498245 w 572945"/>
              <a:gd name="connsiteY75" fmla="*/ 354897 h 572994"/>
              <a:gd name="connsiteX76" fmla="*/ 501073 w 572945"/>
              <a:gd name="connsiteY76" fmla="*/ 433763 h 572994"/>
              <a:gd name="connsiteX77" fmla="*/ 520914 w 572945"/>
              <a:gd name="connsiteY77" fmla="*/ 433763 h 572994"/>
              <a:gd name="connsiteX78" fmla="*/ 423595 w 572945"/>
              <a:gd name="connsiteY78" fmla="*/ 308173 h 572994"/>
              <a:gd name="connsiteX79" fmla="*/ 422058 w 572945"/>
              <a:gd name="connsiteY79" fmla="*/ 309809 h 572994"/>
              <a:gd name="connsiteX80" fmla="*/ 377813 w 572945"/>
              <a:gd name="connsiteY80" fmla="*/ 356038 h 572994"/>
              <a:gd name="connsiteX81" fmla="*/ 377813 w 572945"/>
              <a:gd name="connsiteY81" fmla="*/ 313926 h 572994"/>
              <a:gd name="connsiteX82" fmla="*/ 358469 w 572945"/>
              <a:gd name="connsiteY82" fmla="*/ 313926 h 572994"/>
              <a:gd name="connsiteX83" fmla="*/ 358469 w 572945"/>
              <a:gd name="connsiteY83" fmla="*/ 433614 h 572994"/>
              <a:gd name="connsiteX84" fmla="*/ 377813 w 572945"/>
              <a:gd name="connsiteY84" fmla="*/ 433614 h 572994"/>
              <a:gd name="connsiteX85" fmla="*/ 377813 w 572945"/>
              <a:gd name="connsiteY85" fmla="*/ 384459 h 572994"/>
              <a:gd name="connsiteX86" fmla="*/ 405888 w 572945"/>
              <a:gd name="connsiteY86" fmla="*/ 354698 h 572994"/>
              <a:gd name="connsiteX87" fmla="*/ 408715 w 572945"/>
              <a:gd name="connsiteY87" fmla="*/ 433565 h 572994"/>
              <a:gd name="connsiteX88" fmla="*/ 428556 w 572945"/>
              <a:gd name="connsiteY88" fmla="*/ 433565 h 572994"/>
              <a:gd name="connsiteX89" fmla="*/ 461739 w 572945"/>
              <a:gd name="connsiteY89" fmla="*/ 158377 h 572994"/>
              <a:gd name="connsiteX90" fmla="*/ 469774 w 572945"/>
              <a:gd name="connsiteY90" fmla="*/ 158377 h 572994"/>
              <a:gd name="connsiteX91" fmla="*/ 481778 w 572945"/>
              <a:gd name="connsiteY91" fmla="*/ 163634 h 572994"/>
              <a:gd name="connsiteX92" fmla="*/ 485895 w 572945"/>
              <a:gd name="connsiteY92" fmla="*/ 180003 h 572994"/>
              <a:gd name="connsiteX93" fmla="*/ 461094 w 572945"/>
              <a:gd name="connsiteY93" fmla="*/ 180003 h 572994"/>
              <a:gd name="connsiteX94" fmla="*/ 192404 w 572945"/>
              <a:gd name="connsiteY94" fmla="*/ 155698 h 572994"/>
              <a:gd name="connsiteX95" fmla="*/ 205449 w 572945"/>
              <a:gd name="connsiteY95" fmla="*/ 167107 h 572994"/>
              <a:gd name="connsiteX96" fmla="*/ 209318 w 572945"/>
              <a:gd name="connsiteY96" fmla="*/ 197760 h 572994"/>
              <a:gd name="connsiteX97" fmla="*/ 204804 w 572945"/>
              <a:gd name="connsiteY97" fmla="*/ 229306 h 572994"/>
              <a:gd name="connsiteX98" fmla="*/ 204754 w 572945"/>
              <a:gd name="connsiteY98" fmla="*/ 229108 h 572994"/>
              <a:gd name="connsiteX99" fmla="*/ 192354 w 572945"/>
              <a:gd name="connsiteY99" fmla="*/ 240666 h 572994"/>
              <a:gd name="connsiteX100" fmla="*/ 180301 w 572945"/>
              <a:gd name="connsiteY100" fmla="*/ 228910 h 572994"/>
              <a:gd name="connsiteX101" fmla="*/ 175787 w 572945"/>
              <a:gd name="connsiteY101" fmla="*/ 198058 h 572994"/>
              <a:gd name="connsiteX102" fmla="*/ 180251 w 572945"/>
              <a:gd name="connsiteY102" fmla="*/ 166958 h 572994"/>
              <a:gd name="connsiteX103" fmla="*/ 192404 w 572945"/>
              <a:gd name="connsiteY103" fmla="*/ 155698 h 572994"/>
              <a:gd name="connsiteX104" fmla="*/ 440609 w 572945"/>
              <a:gd name="connsiteY104" fmla="*/ 138536 h 572994"/>
              <a:gd name="connsiteX105" fmla="*/ 436541 w 572945"/>
              <a:gd name="connsiteY105" fmla="*/ 258919 h 572994"/>
              <a:gd name="connsiteX106" fmla="*/ 458664 w 572945"/>
              <a:gd name="connsiteY106" fmla="*/ 258919 h 572994"/>
              <a:gd name="connsiteX107" fmla="*/ 460796 w 572945"/>
              <a:gd name="connsiteY107" fmla="*/ 199993 h 572994"/>
              <a:gd name="connsiteX108" fmla="*/ 488425 w 572945"/>
              <a:gd name="connsiteY108" fmla="*/ 199993 h 572994"/>
              <a:gd name="connsiteX109" fmla="*/ 494625 w 572945"/>
              <a:gd name="connsiteY109" fmla="*/ 258720 h 572994"/>
              <a:gd name="connsiteX110" fmla="*/ 516945 w 572945"/>
              <a:gd name="connsiteY110" fmla="*/ 258720 h 572994"/>
              <a:gd name="connsiteX111" fmla="*/ 506727 w 572945"/>
              <a:gd name="connsiteY111" fmla="*/ 170777 h 572994"/>
              <a:gd name="connsiteX112" fmla="*/ 496162 w 572945"/>
              <a:gd name="connsiteY112" fmla="*/ 145034 h 572994"/>
              <a:gd name="connsiteX113" fmla="*/ 473395 w 572945"/>
              <a:gd name="connsiteY113" fmla="*/ 138536 h 572994"/>
              <a:gd name="connsiteX114" fmla="*/ 352517 w 572945"/>
              <a:gd name="connsiteY114" fmla="*/ 138536 h 572994"/>
              <a:gd name="connsiteX115" fmla="*/ 352517 w 572945"/>
              <a:gd name="connsiteY115" fmla="*/ 158377 h 572994"/>
              <a:gd name="connsiteX116" fmla="*/ 370869 w 572945"/>
              <a:gd name="connsiteY116" fmla="*/ 158377 h 572994"/>
              <a:gd name="connsiteX117" fmla="*/ 371067 w 572945"/>
              <a:gd name="connsiteY117" fmla="*/ 258770 h 572994"/>
              <a:gd name="connsiteX118" fmla="*/ 393190 w 572945"/>
              <a:gd name="connsiteY118" fmla="*/ 258770 h 572994"/>
              <a:gd name="connsiteX119" fmla="*/ 393190 w 572945"/>
              <a:gd name="connsiteY119" fmla="*/ 158377 h 572994"/>
              <a:gd name="connsiteX120" fmla="*/ 411840 w 572945"/>
              <a:gd name="connsiteY120" fmla="*/ 158377 h 572994"/>
              <a:gd name="connsiteX121" fmla="*/ 411840 w 572945"/>
              <a:gd name="connsiteY121" fmla="*/ 138536 h 572994"/>
              <a:gd name="connsiteX122" fmla="*/ 256141 w 572945"/>
              <a:gd name="connsiteY122" fmla="*/ 138536 h 572994"/>
              <a:gd name="connsiteX123" fmla="*/ 256141 w 572945"/>
              <a:gd name="connsiteY123" fmla="*/ 172761 h 572994"/>
              <a:gd name="connsiteX124" fmla="*/ 265466 w 572945"/>
              <a:gd name="connsiteY124" fmla="*/ 192602 h 572994"/>
              <a:gd name="connsiteX125" fmla="*/ 287737 w 572945"/>
              <a:gd name="connsiteY125" fmla="*/ 200538 h 572994"/>
              <a:gd name="connsiteX126" fmla="*/ 303858 w 572945"/>
              <a:gd name="connsiteY126" fmla="*/ 200637 h 572994"/>
              <a:gd name="connsiteX127" fmla="*/ 303858 w 572945"/>
              <a:gd name="connsiteY127" fmla="*/ 258770 h 572994"/>
              <a:gd name="connsiteX128" fmla="*/ 325980 w 572945"/>
              <a:gd name="connsiteY128" fmla="*/ 258770 h 572994"/>
              <a:gd name="connsiteX129" fmla="*/ 325980 w 572945"/>
              <a:gd name="connsiteY129" fmla="*/ 138536 h 572994"/>
              <a:gd name="connsiteX130" fmla="*/ 303858 w 572945"/>
              <a:gd name="connsiteY130" fmla="*/ 138536 h 572994"/>
              <a:gd name="connsiteX131" fmla="*/ 303858 w 572945"/>
              <a:gd name="connsiteY131" fmla="*/ 180449 h 572994"/>
              <a:gd name="connsiteX132" fmla="*/ 291805 w 572945"/>
              <a:gd name="connsiteY132" fmla="*/ 180449 h 572994"/>
              <a:gd name="connsiteX133" fmla="*/ 280793 w 572945"/>
              <a:gd name="connsiteY133" fmla="*/ 177077 h 572994"/>
              <a:gd name="connsiteX134" fmla="*/ 278263 w 572945"/>
              <a:gd name="connsiteY134" fmla="*/ 170629 h 572994"/>
              <a:gd name="connsiteX135" fmla="*/ 278264 w 572945"/>
              <a:gd name="connsiteY135" fmla="*/ 138536 h 572994"/>
              <a:gd name="connsiteX136" fmla="*/ 52676 w 572945"/>
              <a:gd name="connsiteY136" fmla="*/ 138536 h 572994"/>
              <a:gd name="connsiteX137" fmla="*/ 52676 w 572945"/>
              <a:gd name="connsiteY137" fmla="*/ 258919 h 572994"/>
              <a:gd name="connsiteX138" fmla="*/ 74799 w 572945"/>
              <a:gd name="connsiteY138" fmla="*/ 258919 h 572994"/>
              <a:gd name="connsiteX139" fmla="*/ 74799 w 572945"/>
              <a:gd name="connsiteY139" fmla="*/ 158377 h 572994"/>
              <a:gd name="connsiteX140" fmla="*/ 101980 w 572945"/>
              <a:gd name="connsiteY140" fmla="*/ 158377 h 572994"/>
              <a:gd name="connsiteX141" fmla="*/ 101980 w 572945"/>
              <a:gd name="connsiteY141" fmla="*/ 258720 h 572994"/>
              <a:gd name="connsiteX142" fmla="*/ 124102 w 572945"/>
              <a:gd name="connsiteY142" fmla="*/ 258720 h 572994"/>
              <a:gd name="connsiteX143" fmla="*/ 124102 w 572945"/>
              <a:gd name="connsiteY143" fmla="*/ 138536 h 572994"/>
              <a:gd name="connsiteX144" fmla="*/ 192354 w 572945"/>
              <a:gd name="connsiteY144" fmla="*/ 135114 h 572994"/>
              <a:gd name="connsiteX145" fmla="*/ 164478 w 572945"/>
              <a:gd name="connsiteY145" fmla="*/ 152673 h 572994"/>
              <a:gd name="connsiteX146" fmla="*/ 154558 w 572945"/>
              <a:gd name="connsiteY146" fmla="*/ 197661 h 572994"/>
              <a:gd name="connsiteX147" fmla="*/ 164032 w 572945"/>
              <a:gd name="connsiteY147" fmla="*/ 243542 h 572994"/>
              <a:gd name="connsiteX148" fmla="*/ 192354 w 572945"/>
              <a:gd name="connsiteY148" fmla="*/ 261051 h 572994"/>
              <a:gd name="connsiteX149" fmla="*/ 221867 w 572945"/>
              <a:gd name="connsiteY149" fmla="*/ 242699 h 572994"/>
              <a:gd name="connsiteX150" fmla="*/ 231787 w 572945"/>
              <a:gd name="connsiteY150" fmla="*/ 197463 h 572994"/>
              <a:gd name="connsiteX151" fmla="*/ 221569 w 572945"/>
              <a:gd name="connsiteY151" fmla="*/ 152574 h 572994"/>
              <a:gd name="connsiteX152" fmla="*/ 192354 w 572945"/>
              <a:gd name="connsiteY152" fmla="*/ 135114 h 572994"/>
              <a:gd name="connsiteX153" fmla="*/ 22569 w 572945"/>
              <a:gd name="connsiteY153" fmla="*/ 0 h 572994"/>
              <a:gd name="connsiteX154" fmla="*/ 550377 w 572945"/>
              <a:gd name="connsiteY154" fmla="*/ 0 h 572994"/>
              <a:gd name="connsiteX155" fmla="*/ 572945 w 572945"/>
              <a:gd name="connsiteY155" fmla="*/ 22569 h 572994"/>
              <a:gd name="connsiteX156" fmla="*/ 572945 w 572945"/>
              <a:gd name="connsiteY156" fmla="*/ 550425 h 572994"/>
              <a:gd name="connsiteX157" fmla="*/ 550377 w 572945"/>
              <a:gd name="connsiteY157" fmla="*/ 572994 h 572994"/>
              <a:gd name="connsiteX158" fmla="*/ 22569 w 572945"/>
              <a:gd name="connsiteY158" fmla="*/ 572994 h 572994"/>
              <a:gd name="connsiteX159" fmla="*/ 0 w 572945"/>
              <a:gd name="connsiteY159" fmla="*/ 550425 h 572994"/>
              <a:gd name="connsiteX160" fmla="*/ 0 w 572945"/>
              <a:gd name="connsiteY160" fmla="*/ 22569 h 572994"/>
              <a:gd name="connsiteX161" fmla="*/ 22569 w 572945"/>
              <a:gd name="connsiteY161" fmla="*/ 0 h 572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572945" h="572994">
                <a:moveTo>
                  <a:pt x="72368" y="331981"/>
                </a:moveTo>
                <a:lnTo>
                  <a:pt x="73162" y="331981"/>
                </a:lnTo>
                <a:cubicBezTo>
                  <a:pt x="77956" y="332117"/>
                  <a:pt x="82182" y="335164"/>
                  <a:pt x="83827" y="339670"/>
                </a:cubicBezTo>
                <a:cubicBezTo>
                  <a:pt x="86987" y="347762"/>
                  <a:pt x="88358" y="356442"/>
                  <a:pt x="87844" y="365115"/>
                </a:cubicBezTo>
                <a:cubicBezTo>
                  <a:pt x="88047" y="369970"/>
                  <a:pt x="87130" y="374807"/>
                  <a:pt x="85165" y="379251"/>
                </a:cubicBezTo>
                <a:cubicBezTo>
                  <a:pt x="83578" y="382327"/>
                  <a:pt x="81743" y="383864"/>
                  <a:pt x="79660" y="383864"/>
                </a:cubicBezTo>
                <a:cubicBezTo>
                  <a:pt x="77576" y="383864"/>
                  <a:pt x="75989" y="382525"/>
                  <a:pt x="74700" y="379797"/>
                </a:cubicBezTo>
                <a:cubicBezTo>
                  <a:pt x="72940" y="375823"/>
                  <a:pt x="72141" y="371489"/>
                  <a:pt x="72368" y="367148"/>
                </a:cubicBezTo>
                <a:close/>
                <a:moveTo>
                  <a:pt x="155153" y="330394"/>
                </a:moveTo>
                <a:cubicBezTo>
                  <a:pt x="159964" y="330394"/>
                  <a:pt x="164527" y="334213"/>
                  <a:pt x="167057" y="342100"/>
                </a:cubicBezTo>
                <a:cubicBezTo>
                  <a:pt x="169731" y="352156"/>
                  <a:pt x="170901" y="362553"/>
                  <a:pt x="170530" y="372952"/>
                </a:cubicBezTo>
                <a:cubicBezTo>
                  <a:pt x="170822" y="383696"/>
                  <a:pt x="169450" y="394422"/>
                  <a:pt x="166462" y="404746"/>
                </a:cubicBezTo>
                <a:cubicBezTo>
                  <a:pt x="163883" y="412633"/>
                  <a:pt x="160064" y="416601"/>
                  <a:pt x="155153" y="416601"/>
                </a:cubicBezTo>
                <a:cubicBezTo>
                  <a:pt x="150242" y="416601"/>
                  <a:pt x="146720" y="412534"/>
                  <a:pt x="144092" y="404598"/>
                </a:cubicBezTo>
                <a:cubicBezTo>
                  <a:pt x="141132" y="394419"/>
                  <a:pt x="139760" y="383846"/>
                  <a:pt x="140025" y="373250"/>
                </a:cubicBezTo>
                <a:cubicBezTo>
                  <a:pt x="139730" y="362672"/>
                  <a:pt x="141085" y="352112"/>
                  <a:pt x="144042" y="341951"/>
                </a:cubicBezTo>
                <a:cubicBezTo>
                  <a:pt x="146572" y="334313"/>
                  <a:pt x="150342" y="330394"/>
                  <a:pt x="155153" y="330394"/>
                </a:cubicBezTo>
                <a:close/>
                <a:moveTo>
                  <a:pt x="52379" y="314125"/>
                </a:moveTo>
                <a:lnTo>
                  <a:pt x="52379" y="433515"/>
                </a:lnTo>
                <a:lnTo>
                  <a:pt x="72220" y="433515"/>
                </a:lnTo>
                <a:lnTo>
                  <a:pt x="72220" y="398794"/>
                </a:lnTo>
                <a:cubicBezTo>
                  <a:pt x="79017" y="405787"/>
                  <a:pt x="90196" y="405946"/>
                  <a:pt x="97189" y="399149"/>
                </a:cubicBezTo>
                <a:cubicBezTo>
                  <a:pt x="98757" y="397625"/>
                  <a:pt x="100029" y="395822"/>
                  <a:pt x="100939" y="393834"/>
                </a:cubicBezTo>
                <a:cubicBezTo>
                  <a:pt x="106271" y="383425"/>
                  <a:pt x="108720" y="371779"/>
                  <a:pt x="108032" y="360105"/>
                </a:cubicBezTo>
                <a:cubicBezTo>
                  <a:pt x="108206" y="350699"/>
                  <a:pt x="106257" y="341374"/>
                  <a:pt x="102328" y="332824"/>
                </a:cubicBezTo>
                <a:cubicBezTo>
                  <a:pt x="97442" y="321085"/>
                  <a:pt x="85768" y="313626"/>
                  <a:pt x="73063" y="314125"/>
                </a:cubicBezTo>
                <a:close/>
                <a:moveTo>
                  <a:pt x="338331" y="311049"/>
                </a:moveTo>
                <a:cubicBezTo>
                  <a:pt x="318837" y="311049"/>
                  <a:pt x="303610" y="317150"/>
                  <a:pt x="293689" y="329154"/>
                </a:cubicBezTo>
                <a:cubicBezTo>
                  <a:pt x="284464" y="340016"/>
                  <a:pt x="279752" y="355195"/>
                  <a:pt x="279752" y="374192"/>
                </a:cubicBezTo>
                <a:cubicBezTo>
                  <a:pt x="279044" y="390514"/>
                  <a:pt x="284437" y="406516"/>
                  <a:pt x="294880" y="419081"/>
                </a:cubicBezTo>
                <a:cubicBezTo>
                  <a:pt x="306039" y="431359"/>
                  <a:pt x="322107" y="438000"/>
                  <a:pt x="338678" y="437185"/>
                </a:cubicBezTo>
                <a:lnTo>
                  <a:pt x="339621" y="437185"/>
                </a:lnTo>
                <a:lnTo>
                  <a:pt x="339621" y="416303"/>
                </a:lnTo>
                <a:lnTo>
                  <a:pt x="338678" y="416303"/>
                </a:lnTo>
                <a:cubicBezTo>
                  <a:pt x="327672" y="416961"/>
                  <a:pt x="316998" y="412405"/>
                  <a:pt x="309860" y="404002"/>
                </a:cubicBezTo>
                <a:lnTo>
                  <a:pt x="310108" y="404002"/>
                </a:lnTo>
                <a:cubicBezTo>
                  <a:pt x="297620" y="386032"/>
                  <a:pt x="297443" y="362239"/>
                  <a:pt x="309661" y="344084"/>
                </a:cubicBezTo>
                <a:cubicBezTo>
                  <a:pt x="316764" y="335735"/>
                  <a:pt x="327392" y="331230"/>
                  <a:pt x="338331" y="331932"/>
                </a:cubicBezTo>
                <a:lnTo>
                  <a:pt x="339273" y="331932"/>
                </a:lnTo>
                <a:lnTo>
                  <a:pt x="339273" y="311049"/>
                </a:lnTo>
                <a:close/>
                <a:moveTo>
                  <a:pt x="263929" y="311049"/>
                </a:moveTo>
                <a:cubicBezTo>
                  <a:pt x="244435" y="311049"/>
                  <a:pt x="229208" y="317150"/>
                  <a:pt x="219287" y="329154"/>
                </a:cubicBezTo>
                <a:cubicBezTo>
                  <a:pt x="210062" y="340016"/>
                  <a:pt x="205350" y="355195"/>
                  <a:pt x="205350" y="374192"/>
                </a:cubicBezTo>
                <a:cubicBezTo>
                  <a:pt x="204642" y="390514"/>
                  <a:pt x="210035" y="406516"/>
                  <a:pt x="220478" y="419081"/>
                </a:cubicBezTo>
                <a:cubicBezTo>
                  <a:pt x="231637" y="431359"/>
                  <a:pt x="247705" y="438000"/>
                  <a:pt x="264276" y="437185"/>
                </a:cubicBezTo>
                <a:lnTo>
                  <a:pt x="265218" y="437185"/>
                </a:lnTo>
                <a:lnTo>
                  <a:pt x="265218" y="416303"/>
                </a:lnTo>
                <a:lnTo>
                  <a:pt x="264276" y="416303"/>
                </a:lnTo>
                <a:cubicBezTo>
                  <a:pt x="253424" y="416819"/>
                  <a:pt x="242945" y="412276"/>
                  <a:pt x="235904" y="404002"/>
                </a:cubicBezTo>
                <a:lnTo>
                  <a:pt x="235706" y="404002"/>
                </a:lnTo>
                <a:cubicBezTo>
                  <a:pt x="223218" y="386032"/>
                  <a:pt x="223041" y="362239"/>
                  <a:pt x="235259" y="344084"/>
                </a:cubicBezTo>
                <a:cubicBezTo>
                  <a:pt x="242362" y="335735"/>
                  <a:pt x="252990" y="331230"/>
                  <a:pt x="263929" y="331932"/>
                </a:cubicBezTo>
                <a:lnTo>
                  <a:pt x="264871" y="331932"/>
                </a:lnTo>
                <a:lnTo>
                  <a:pt x="264871" y="311049"/>
                </a:lnTo>
                <a:close/>
                <a:moveTo>
                  <a:pt x="155104" y="311049"/>
                </a:moveTo>
                <a:cubicBezTo>
                  <a:pt x="144042" y="311049"/>
                  <a:pt x="136304" y="316903"/>
                  <a:pt x="130303" y="328410"/>
                </a:cubicBezTo>
                <a:cubicBezTo>
                  <a:pt x="123893" y="342390"/>
                  <a:pt x="120868" y="357684"/>
                  <a:pt x="121474" y="373051"/>
                </a:cubicBezTo>
                <a:cubicBezTo>
                  <a:pt x="120809" y="388687"/>
                  <a:pt x="123692" y="404271"/>
                  <a:pt x="129906" y="418635"/>
                </a:cubicBezTo>
                <a:cubicBezTo>
                  <a:pt x="135610" y="430092"/>
                  <a:pt x="144042" y="435896"/>
                  <a:pt x="155054" y="435896"/>
                </a:cubicBezTo>
                <a:cubicBezTo>
                  <a:pt x="166065" y="435896"/>
                  <a:pt x="174894" y="429795"/>
                  <a:pt x="181293" y="417791"/>
                </a:cubicBezTo>
                <a:cubicBezTo>
                  <a:pt x="187735" y="403716"/>
                  <a:pt x="190760" y="388318"/>
                  <a:pt x="190122" y="372853"/>
                </a:cubicBezTo>
                <a:lnTo>
                  <a:pt x="181006" y="328265"/>
                </a:lnTo>
                <a:lnTo>
                  <a:pt x="181045" y="328311"/>
                </a:lnTo>
                <a:lnTo>
                  <a:pt x="180995" y="328212"/>
                </a:lnTo>
                <a:lnTo>
                  <a:pt x="181006" y="328265"/>
                </a:lnTo>
                <a:lnTo>
                  <a:pt x="169916" y="315383"/>
                </a:lnTo>
                <a:cubicBezTo>
                  <a:pt x="165582" y="312500"/>
                  <a:pt x="160635" y="311049"/>
                  <a:pt x="155104" y="311049"/>
                </a:cubicBezTo>
                <a:close/>
                <a:moveTo>
                  <a:pt x="515953" y="308371"/>
                </a:moveTo>
                <a:lnTo>
                  <a:pt x="514416" y="310008"/>
                </a:lnTo>
                <a:lnTo>
                  <a:pt x="470171" y="356236"/>
                </a:lnTo>
                <a:lnTo>
                  <a:pt x="470171" y="314125"/>
                </a:lnTo>
                <a:lnTo>
                  <a:pt x="450826" y="314125"/>
                </a:lnTo>
                <a:lnTo>
                  <a:pt x="450826" y="433813"/>
                </a:lnTo>
                <a:lnTo>
                  <a:pt x="470171" y="433813"/>
                </a:lnTo>
                <a:lnTo>
                  <a:pt x="470171" y="384658"/>
                </a:lnTo>
                <a:lnTo>
                  <a:pt x="498245" y="354897"/>
                </a:lnTo>
                <a:cubicBezTo>
                  <a:pt x="498245" y="359212"/>
                  <a:pt x="501073" y="433763"/>
                  <a:pt x="501073" y="433763"/>
                </a:cubicBezTo>
                <a:lnTo>
                  <a:pt x="520914" y="433763"/>
                </a:lnTo>
                <a:close/>
                <a:moveTo>
                  <a:pt x="423595" y="308173"/>
                </a:moveTo>
                <a:lnTo>
                  <a:pt x="422058" y="309809"/>
                </a:lnTo>
                <a:lnTo>
                  <a:pt x="377813" y="356038"/>
                </a:lnTo>
                <a:lnTo>
                  <a:pt x="377813" y="313926"/>
                </a:lnTo>
                <a:lnTo>
                  <a:pt x="358469" y="313926"/>
                </a:lnTo>
                <a:lnTo>
                  <a:pt x="358469" y="433614"/>
                </a:lnTo>
                <a:lnTo>
                  <a:pt x="377813" y="433614"/>
                </a:lnTo>
                <a:lnTo>
                  <a:pt x="377813" y="384459"/>
                </a:lnTo>
                <a:lnTo>
                  <a:pt x="405888" y="354698"/>
                </a:lnTo>
                <a:lnTo>
                  <a:pt x="408715" y="433565"/>
                </a:lnTo>
                <a:lnTo>
                  <a:pt x="428556" y="433565"/>
                </a:lnTo>
                <a:close/>
                <a:moveTo>
                  <a:pt x="461739" y="158377"/>
                </a:moveTo>
                <a:lnTo>
                  <a:pt x="469774" y="158377"/>
                </a:lnTo>
                <a:cubicBezTo>
                  <a:pt x="474422" y="157898"/>
                  <a:pt x="478979" y="159894"/>
                  <a:pt x="481778" y="163634"/>
                </a:cubicBezTo>
                <a:cubicBezTo>
                  <a:pt x="484241" y="168757"/>
                  <a:pt x="485641" y="174325"/>
                  <a:pt x="485895" y="180003"/>
                </a:cubicBezTo>
                <a:lnTo>
                  <a:pt x="461094" y="180003"/>
                </a:lnTo>
                <a:close/>
                <a:moveTo>
                  <a:pt x="192404" y="155698"/>
                </a:moveTo>
                <a:cubicBezTo>
                  <a:pt x="197761" y="155698"/>
                  <a:pt x="202671" y="159418"/>
                  <a:pt x="205449" y="167107"/>
                </a:cubicBezTo>
                <a:cubicBezTo>
                  <a:pt x="208421" y="177041"/>
                  <a:pt x="209729" y="187399"/>
                  <a:pt x="209318" y="197760"/>
                </a:cubicBezTo>
                <a:cubicBezTo>
                  <a:pt x="209641" y="208457"/>
                  <a:pt x="208113" y="219129"/>
                  <a:pt x="204804" y="229306"/>
                </a:cubicBezTo>
                <a:lnTo>
                  <a:pt x="204754" y="229108"/>
                </a:lnTo>
                <a:cubicBezTo>
                  <a:pt x="201878" y="236896"/>
                  <a:pt x="197810" y="240666"/>
                  <a:pt x="192354" y="240666"/>
                </a:cubicBezTo>
                <a:cubicBezTo>
                  <a:pt x="186898" y="240666"/>
                  <a:pt x="183178" y="236846"/>
                  <a:pt x="180301" y="228910"/>
                </a:cubicBezTo>
                <a:cubicBezTo>
                  <a:pt x="177053" y="218957"/>
                  <a:pt x="175527" y="208524"/>
                  <a:pt x="175787" y="198058"/>
                </a:cubicBezTo>
                <a:cubicBezTo>
                  <a:pt x="175460" y="187511"/>
                  <a:pt x="176971" y="176987"/>
                  <a:pt x="180251" y="166958"/>
                </a:cubicBezTo>
                <a:cubicBezTo>
                  <a:pt x="183079" y="159369"/>
                  <a:pt x="187047" y="155698"/>
                  <a:pt x="192404" y="155698"/>
                </a:cubicBezTo>
                <a:close/>
                <a:moveTo>
                  <a:pt x="440609" y="138536"/>
                </a:moveTo>
                <a:lnTo>
                  <a:pt x="436541" y="258919"/>
                </a:lnTo>
                <a:lnTo>
                  <a:pt x="458664" y="258919"/>
                </a:lnTo>
                <a:lnTo>
                  <a:pt x="460796" y="199993"/>
                </a:lnTo>
                <a:lnTo>
                  <a:pt x="488425" y="199993"/>
                </a:lnTo>
                <a:lnTo>
                  <a:pt x="494625" y="258720"/>
                </a:lnTo>
                <a:lnTo>
                  <a:pt x="516945" y="258720"/>
                </a:lnTo>
                <a:lnTo>
                  <a:pt x="506727" y="170777"/>
                </a:lnTo>
                <a:cubicBezTo>
                  <a:pt x="507512" y="161003"/>
                  <a:pt x="503587" y="151440"/>
                  <a:pt x="496162" y="145034"/>
                </a:cubicBezTo>
                <a:cubicBezTo>
                  <a:pt x="489526" y="140357"/>
                  <a:pt x="481501" y="138066"/>
                  <a:pt x="473395" y="138536"/>
                </a:cubicBezTo>
                <a:close/>
                <a:moveTo>
                  <a:pt x="352517" y="138536"/>
                </a:moveTo>
                <a:lnTo>
                  <a:pt x="352517" y="158377"/>
                </a:lnTo>
                <a:lnTo>
                  <a:pt x="370869" y="158377"/>
                </a:lnTo>
                <a:lnTo>
                  <a:pt x="371067" y="258770"/>
                </a:lnTo>
                <a:lnTo>
                  <a:pt x="393190" y="258770"/>
                </a:lnTo>
                <a:lnTo>
                  <a:pt x="393190" y="158377"/>
                </a:lnTo>
                <a:lnTo>
                  <a:pt x="411840" y="158377"/>
                </a:lnTo>
                <a:lnTo>
                  <a:pt x="411840" y="138536"/>
                </a:lnTo>
                <a:close/>
                <a:moveTo>
                  <a:pt x="256141" y="138536"/>
                </a:moveTo>
                <a:lnTo>
                  <a:pt x="256141" y="172761"/>
                </a:lnTo>
                <a:cubicBezTo>
                  <a:pt x="256081" y="180446"/>
                  <a:pt x="259511" y="187744"/>
                  <a:pt x="265466" y="192602"/>
                </a:cubicBezTo>
                <a:cubicBezTo>
                  <a:pt x="271657" y="197904"/>
                  <a:pt x="279589" y="200731"/>
                  <a:pt x="287737" y="200538"/>
                </a:cubicBezTo>
                <a:lnTo>
                  <a:pt x="303858" y="200637"/>
                </a:lnTo>
                <a:lnTo>
                  <a:pt x="303858" y="258770"/>
                </a:lnTo>
                <a:lnTo>
                  <a:pt x="325980" y="258770"/>
                </a:lnTo>
                <a:lnTo>
                  <a:pt x="325980" y="138536"/>
                </a:lnTo>
                <a:lnTo>
                  <a:pt x="303858" y="138536"/>
                </a:lnTo>
                <a:lnTo>
                  <a:pt x="303858" y="180449"/>
                </a:lnTo>
                <a:lnTo>
                  <a:pt x="291805" y="180449"/>
                </a:lnTo>
                <a:cubicBezTo>
                  <a:pt x="287838" y="180773"/>
                  <a:pt x="283898" y="179566"/>
                  <a:pt x="280793" y="177077"/>
                </a:cubicBezTo>
                <a:cubicBezTo>
                  <a:pt x="279054" y="175396"/>
                  <a:pt x="278131" y="173043"/>
                  <a:pt x="278263" y="170629"/>
                </a:cubicBezTo>
                <a:lnTo>
                  <a:pt x="278264" y="138536"/>
                </a:lnTo>
                <a:close/>
                <a:moveTo>
                  <a:pt x="52676" y="138536"/>
                </a:moveTo>
                <a:lnTo>
                  <a:pt x="52676" y="258919"/>
                </a:lnTo>
                <a:lnTo>
                  <a:pt x="74799" y="258919"/>
                </a:lnTo>
                <a:lnTo>
                  <a:pt x="74799" y="158377"/>
                </a:lnTo>
                <a:lnTo>
                  <a:pt x="101980" y="158377"/>
                </a:lnTo>
                <a:lnTo>
                  <a:pt x="101980" y="258720"/>
                </a:lnTo>
                <a:lnTo>
                  <a:pt x="124102" y="258720"/>
                </a:lnTo>
                <a:lnTo>
                  <a:pt x="124102" y="138536"/>
                </a:lnTo>
                <a:close/>
                <a:moveTo>
                  <a:pt x="192354" y="135114"/>
                </a:moveTo>
                <a:cubicBezTo>
                  <a:pt x="180470" y="135160"/>
                  <a:pt x="169652" y="141974"/>
                  <a:pt x="164478" y="152673"/>
                </a:cubicBezTo>
                <a:cubicBezTo>
                  <a:pt x="157317" y="166552"/>
                  <a:pt x="153897" y="182057"/>
                  <a:pt x="154558" y="197661"/>
                </a:cubicBezTo>
                <a:cubicBezTo>
                  <a:pt x="153838" y="213506"/>
                  <a:pt x="157094" y="229279"/>
                  <a:pt x="164032" y="243542"/>
                </a:cubicBezTo>
                <a:cubicBezTo>
                  <a:pt x="169242" y="254410"/>
                  <a:pt x="180304" y="261248"/>
                  <a:pt x="192354" y="261051"/>
                </a:cubicBezTo>
                <a:cubicBezTo>
                  <a:pt x="204885" y="261056"/>
                  <a:pt x="216329" y="253939"/>
                  <a:pt x="221867" y="242699"/>
                </a:cubicBezTo>
                <a:cubicBezTo>
                  <a:pt x="229053" y="228740"/>
                  <a:pt x="232472" y="213148"/>
                  <a:pt x="231787" y="197463"/>
                </a:cubicBezTo>
                <a:cubicBezTo>
                  <a:pt x="232469" y="181854"/>
                  <a:pt x="228939" y="166350"/>
                  <a:pt x="221569" y="152574"/>
                </a:cubicBezTo>
                <a:cubicBezTo>
                  <a:pt x="215885" y="141727"/>
                  <a:pt x="204599" y="134982"/>
                  <a:pt x="192354" y="135114"/>
                </a:cubicBezTo>
                <a:close/>
                <a:moveTo>
                  <a:pt x="22569" y="0"/>
                </a:moveTo>
                <a:lnTo>
                  <a:pt x="550377" y="0"/>
                </a:lnTo>
                <a:cubicBezTo>
                  <a:pt x="562841" y="0"/>
                  <a:pt x="572945" y="10104"/>
                  <a:pt x="572945" y="22569"/>
                </a:cubicBezTo>
                <a:lnTo>
                  <a:pt x="572945" y="550425"/>
                </a:lnTo>
                <a:cubicBezTo>
                  <a:pt x="572945" y="562890"/>
                  <a:pt x="562841" y="572994"/>
                  <a:pt x="550377" y="572994"/>
                </a:cubicBezTo>
                <a:lnTo>
                  <a:pt x="22569" y="572994"/>
                </a:lnTo>
                <a:cubicBezTo>
                  <a:pt x="10104" y="572994"/>
                  <a:pt x="0" y="562890"/>
                  <a:pt x="0" y="550425"/>
                </a:cubicBezTo>
                <a:lnTo>
                  <a:pt x="0" y="22569"/>
                </a:lnTo>
                <a:cubicBezTo>
                  <a:pt x="0" y="10104"/>
                  <a:pt x="10104" y="0"/>
                  <a:pt x="22569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10" name="Текст 8">
            <a:extLst>
              <a:ext uri="{FF2B5EF4-FFF2-40B4-BE49-F238E27FC236}">
                <a16:creationId xmlns="" xmlns:a16="http://schemas.microsoft.com/office/drawing/2014/main" id="{C98F9D43-7147-460C-BF49-EAC828FB7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74096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смарт-устройст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7BDD1FD6-6AEA-4E32-9116-FB10716201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755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78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="" xmlns:a16="http://schemas.microsoft.com/office/drawing/2014/main" id="{7BDD1FD6-6AEA-4E32-9116-FB10716201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E57B5CEF-548C-4FAE-8569-03D9B4D343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tx2"/>
              </a:gs>
              <a:gs pos="87000">
                <a:schemeClr val="tx2">
                  <a:lumMod val="75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Aft>
                <a:spcPts val="1200"/>
              </a:spcAft>
              <a:buFontTx/>
              <a:buNone/>
            </a:pPr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Рисунок 8" descr="Изображение выглядит как монитор, знак, сидит, фотография&#10;&#10;Автоматически созданное описание">
            <a:extLst>
              <a:ext uri="{FF2B5EF4-FFF2-40B4-BE49-F238E27FC236}">
                <a16:creationId xmlns="" xmlns:a16="http://schemas.microsoft.com/office/drawing/2014/main" id="{E184C1E0-C228-47A1-B2C9-CACF00D4B1F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8917" y="1259633"/>
            <a:ext cx="3517972" cy="5322692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296921"/>
            <a:ext cx="1015047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D4859CB2-E0D3-4A7A-88A1-051FFE61F85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Рисунок 36">
            <a:extLst>
              <a:ext uri="{FF2B5EF4-FFF2-40B4-BE49-F238E27FC236}">
                <a16:creationId xmlns="" xmlns:a16="http://schemas.microsoft.com/office/drawing/2014/main" id="{DF429F0B-816C-4B37-AC27-CAEFE6C873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3154" y="1407545"/>
            <a:ext cx="2233214" cy="4849619"/>
          </a:xfrm>
          <a:custGeom>
            <a:avLst/>
            <a:gdLst>
              <a:gd name="connsiteX0" fmla="*/ 343649 w 2466975"/>
              <a:gd name="connsiteY0" fmla="*/ 74045 h 5043488"/>
              <a:gd name="connsiteX1" fmla="*/ 115412 w 2466975"/>
              <a:gd name="connsiteY1" fmla="*/ 303563 h 5043488"/>
              <a:gd name="connsiteX2" fmla="*/ 115412 w 2466975"/>
              <a:gd name="connsiteY2" fmla="*/ 4694146 h 5043488"/>
              <a:gd name="connsiteX3" fmla="*/ 343649 w 2466975"/>
              <a:gd name="connsiteY3" fmla="*/ 4923664 h 5043488"/>
              <a:gd name="connsiteX4" fmla="*/ 2120389 w 2466975"/>
              <a:gd name="connsiteY4" fmla="*/ 4923664 h 5043488"/>
              <a:gd name="connsiteX5" fmla="*/ 2348626 w 2466975"/>
              <a:gd name="connsiteY5" fmla="*/ 4694146 h 5043488"/>
              <a:gd name="connsiteX6" fmla="*/ 2348626 w 2466975"/>
              <a:gd name="connsiteY6" fmla="*/ 303563 h 5043488"/>
              <a:gd name="connsiteX7" fmla="*/ 2120389 w 2466975"/>
              <a:gd name="connsiteY7" fmla="*/ 74045 h 5043488"/>
              <a:gd name="connsiteX8" fmla="*/ 1885484 w 2466975"/>
              <a:gd name="connsiteY8" fmla="*/ 74045 h 5043488"/>
              <a:gd name="connsiteX9" fmla="*/ 1853216 w 2466975"/>
              <a:gd name="connsiteY9" fmla="*/ 106493 h 5043488"/>
              <a:gd name="connsiteX10" fmla="*/ 1854507 w 2466975"/>
              <a:gd name="connsiteY10" fmla="*/ 123799 h 5043488"/>
              <a:gd name="connsiteX11" fmla="*/ 1724470 w 2466975"/>
              <a:gd name="connsiteY11" fmla="*/ 255215 h 5043488"/>
              <a:gd name="connsiteX12" fmla="*/ 740320 w 2466975"/>
              <a:gd name="connsiteY12" fmla="*/ 255215 h 5043488"/>
              <a:gd name="connsiteX13" fmla="*/ 609413 w 2466975"/>
              <a:gd name="connsiteY13" fmla="*/ 124894 h 5043488"/>
              <a:gd name="connsiteX14" fmla="*/ 610176 w 2466975"/>
              <a:gd name="connsiteY14" fmla="*/ 110063 h 5043488"/>
              <a:gd name="connsiteX15" fmla="*/ 610176 w 2466975"/>
              <a:gd name="connsiteY15" fmla="*/ 106493 h 5043488"/>
              <a:gd name="connsiteX16" fmla="*/ 577909 w 2466975"/>
              <a:gd name="connsiteY16" fmla="*/ 74045 h 5043488"/>
              <a:gd name="connsiteX17" fmla="*/ 0 w 2466975"/>
              <a:gd name="connsiteY17" fmla="*/ 0 h 5043488"/>
              <a:gd name="connsiteX18" fmla="*/ 2466975 w 2466975"/>
              <a:gd name="connsiteY18" fmla="*/ 0 h 5043488"/>
              <a:gd name="connsiteX19" fmla="*/ 2466975 w 2466975"/>
              <a:gd name="connsiteY19" fmla="*/ 5043488 h 5043488"/>
              <a:gd name="connsiteX20" fmla="*/ 0 w 2466975"/>
              <a:gd name="connsiteY20" fmla="*/ 5043488 h 5043488"/>
              <a:gd name="connsiteX0" fmla="*/ 438899 w 2562225"/>
              <a:gd name="connsiteY0" fmla="*/ 448695 h 5418138"/>
              <a:gd name="connsiteX1" fmla="*/ 210662 w 2562225"/>
              <a:gd name="connsiteY1" fmla="*/ 678213 h 5418138"/>
              <a:gd name="connsiteX2" fmla="*/ 210662 w 2562225"/>
              <a:gd name="connsiteY2" fmla="*/ 5068796 h 5418138"/>
              <a:gd name="connsiteX3" fmla="*/ 438899 w 2562225"/>
              <a:gd name="connsiteY3" fmla="*/ 5298314 h 5418138"/>
              <a:gd name="connsiteX4" fmla="*/ 2215639 w 2562225"/>
              <a:gd name="connsiteY4" fmla="*/ 5298314 h 5418138"/>
              <a:gd name="connsiteX5" fmla="*/ 2443876 w 2562225"/>
              <a:gd name="connsiteY5" fmla="*/ 5068796 h 5418138"/>
              <a:gd name="connsiteX6" fmla="*/ 2443876 w 2562225"/>
              <a:gd name="connsiteY6" fmla="*/ 678213 h 5418138"/>
              <a:gd name="connsiteX7" fmla="*/ 2215639 w 2562225"/>
              <a:gd name="connsiteY7" fmla="*/ 448695 h 5418138"/>
              <a:gd name="connsiteX8" fmla="*/ 1980734 w 2562225"/>
              <a:gd name="connsiteY8" fmla="*/ 448695 h 5418138"/>
              <a:gd name="connsiteX9" fmla="*/ 1948466 w 2562225"/>
              <a:gd name="connsiteY9" fmla="*/ 481143 h 5418138"/>
              <a:gd name="connsiteX10" fmla="*/ 1949757 w 2562225"/>
              <a:gd name="connsiteY10" fmla="*/ 498449 h 5418138"/>
              <a:gd name="connsiteX11" fmla="*/ 1819720 w 2562225"/>
              <a:gd name="connsiteY11" fmla="*/ 629865 h 5418138"/>
              <a:gd name="connsiteX12" fmla="*/ 835570 w 2562225"/>
              <a:gd name="connsiteY12" fmla="*/ 629865 h 5418138"/>
              <a:gd name="connsiteX13" fmla="*/ 704663 w 2562225"/>
              <a:gd name="connsiteY13" fmla="*/ 499544 h 5418138"/>
              <a:gd name="connsiteX14" fmla="*/ 705426 w 2562225"/>
              <a:gd name="connsiteY14" fmla="*/ 484713 h 5418138"/>
              <a:gd name="connsiteX15" fmla="*/ 705426 w 2562225"/>
              <a:gd name="connsiteY15" fmla="*/ 481143 h 5418138"/>
              <a:gd name="connsiteX16" fmla="*/ 673159 w 2562225"/>
              <a:gd name="connsiteY16" fmla="*/ 448695 h 5418138"/>
              <a:gd name="connsiteX17" fmla="*/ 438899 w 2562225"/>
              <a:gd name="connsiteY17" fmla="*/ 448695 h 5418138"/>
              <a:gd name="connsiteX18" fmla="*/ 0 w 2562225"/>
              <a:gd name="connsiteY18" fmla="*/ 0 h 5418138"/>
              <a:gd name="connsiteX19" fmla="*/ 2562225 w 2562225"/>
              <a:gd name="connsiteY19" fmla="*/ 374650 h 5418138"/>
              <a:gd name="connsiteX20" fmla="*/ 2562225 w 2562225"/>
              <a:gd name="connsiteY20" fmla="*/ 5418138 h 5418138"/>
              <a:gd name="connsiteX21" fmla="*/ 95250 w 2562225"/>
              <a:gd name="connsiteY21" fmla="*/ 5418138 h 5418138"/>
              <a:gd name="connsiteX22" fmla="*/ 0 w 2562225"/>
              <a:gd name="connsiteY22" fmla="*/ 0 h 5418138"/>
              <a:gd name="connsiteX0" fmla="*/ 343649 w 2466975"/>
              <a:gd name="connsiteY0" fmla="*/ 74045 h 5043488"/>
              <a:gd name="connsiteX1" fmla="*/ 115412 w 2466975"/>
              <a:gd name="connsiteY1" fmla="*/ 303563 h 5043488"/>
              <a:gd name="connsiteX2" fmla="*/ 115412 w 2466975"/>
              <a:gd name="connsiteY2" fmla="*/ 4694146 h 5043488"/>
              <a:gd name="connsiteX3" fmla="*/ 343649 w 2466975"/>
              <a:gd name="connsiteY3" fmla="*/ 4923664 h 5043488"/>
              <a:gd name="connsiteX4" fmla="*/ 2120389 w 2466975"/>
              <a:gd name="connsiteY4" fmla="*/ 4923664 h 5043488"/>
              <a:gd name="connsiteX5" fmla="*/ 2348626 w 2466975"/>
              <a:gd name="connsiteY5" fmla="*/ 4694146 h 5043488"/>
              <a:gd name="connsiteX6" fmla="*/ 2348626 w 2466975"/>
              <a:gd name="connsiteY6" fmla="*/ 303563 h 5043488"/>
              <a:gd name="connsiteX7" fmla="*/ 2120389 w 2466975"/>
              <a:gd name="connsiteY7" fmla="*/ 74045 h 5043488"/>
              <a:gd name="connsiteX8" fmla="*/ 1885484 w 2466975"/>
              <a:gd name="connsiteY8" fmla="*/ 74045 h 5043488"/>
              <a:gd name="connsiteX9" fmla="*/ 1853216 w 2466975"/>
              <a:gd name="connsiteY9" fmla="*/ 106493 h 5043488"/>
              <a:gd name="connsiteX10" fmla="*/ 1854507 w 2466975"/>
              <a:gd name="connsiteY10" fmla="*/ 123799 h 5043488"/>
              <a:gd name="connsiteX11" fmla="*/ 1724470 w 2466975"/>
              <a:gd name="connsiteY11" fmla="*/ 255215 h 5043488"/>
              <a:gd name="connsiteX12" fmla="*/ 740320 w 2466975"/>
              <a:gd name="connsiteY12" fmla="*/ 255215 h 5043488"/>
              <a:gd name="connsiteX13" fmla="*/ 609413 w 2466975"/>
              <a:gd name="connsiteY13" fmla="*/ 124894 h 5043488"/>
              <a:gd name="connsiteX14" fmla="*/ 610176 w 2466975"/>
              <a:gd name="connsiteY14" fmla="*/ 110063 h 5043488"/>
              <a:gd name="connsiteX15" fmla="*/ 610176 w 2466975"/>
              <a:gd name="connsiteY15" fmla="*/ 106493 h 5043488"/>
              <a:gd name="connsiteX16" fmla="*/ 577909 w 2466975"/>
              <a:gd name="connsiteY16" fmla="*/ 74045 h 5043488"/>
              <a:gd name="connsiteX17" fmla="*/ 343649 w 2466975"/>
              <a:gd name="connsiteY17" fmla="*/ 74045 h 5043488"/>
              <a:gd name="connsiteX18" fmla="*/ 0 w 2466975"/>
              <a:gd name="connsiteY18" fmla="*/ 5043488 h 5043488"/>
              <a:gd name="connsiteX19" fmla="*/ 2466975 w 2466975"/>
              <a:gd name="connsiteY19" fmla="*/ 0 h 5043488"/>
              <a:gd name="connsiteX20" fmla="*/ 2466975 w 2466975"/>
              <a:gd name="connsiteY20" fmla="*/ 5043488 h 5043488"/>
              <a:gd name="connsiteX21" fmla="*/ 0 w 2466975"/>
              <a:gd name="connsiteY21" fmla="*/ 5043488 h 5043488"/>
              <a:gd name="connsiteX0" fmla="*/ 343649 w 2466975"/>
              <a:gd name="connsiteY0" fmla="*/ 0 h 4969443"/>
              <a:gd name="connsiteX1" fmla="*/ 115412 w 2466975"/>
              <a:gd name="connsiteY1" fmla="*/ 229518 h 4969443"/>
              <a:gd name="connsiteX2" fmla="*/ 115412 w 2466975"/>
              <a:gd name="connsiteY2" fmla="*/ 4620101 h 4969443"/>
              <a:gd name="connsiteX3" fmla="*/ 343649 w 2466975"/>
              <a:gd name="connsiteY3" fmla="*/ 4849619 h 4969443"/>
              <a:gd name="connsiteX4" fmla="*/ 2120389 w 2466975"/>
              <a:gd name="connsiteY4" fmla="*/ 4849619 h 4969443"/>
              <a:gd name="connsiteX5" fmla="*/ 2348626 w 2466975"/>
              <a:gd name="connsiteY5" fmla="*/ 4620101 h 4969443"/>
              <a:gd name="connsiteX6" fmla="*/ 2348626 w 2466975"/>
              <a:gd name="connsiteY6" fmla="*/ 229518 h 4969443"/>
              <a:gd name="connsiteX7" fmla="*/ 2120389 w 2466975"/>
              <a:gd name="connsiteY7" fmla="*/ 0 h 4969443"/>
              <a:gd name="connsiteX8" fmla="*/ 1885484 w 2466975"/>
              <a:gd name="connsiteY8" fmla="*/ 0 h 4969443"/>
              <a:gd name="connsiteX9" fmla="*/ 1853216 w 2466975"/>
              <a:gd name="connsiteY9" fmla="*/ 32448 h 4969443"/>
              <a:gd name="connsiteX10" fmla="*/ 1854507 w 2466975"/>
              <a:gd name="connsiteY10" fmla="*/ 49754 h 4969443"/>
              <a:gd name="connsiteX11" fmla="*/ 1724470 w 2466975"/>
              <a:gd name="connsiteY11" fmla="*/ 181170 h 4969443"/>
              <a:gd name="connsiteX12" fmla="*/ 740320 w 2466975"/>
              <a:gd name="connsiteY12" fmla="*/ 181170 h 4969443"/>
              <a:gd name="connsiteX13" fmla="*/ 609413 w 2466975"/>
              <a:gd name="connsiteY13" fmla="*/ 50849 h 4969443"/>
              <a:gd name="connsiteX14" fmla="*/ 610176 w 2466975"/>
              <a:gd name="connsiteY14" fmla="*/ 36018 h 4969443"/>
              <a:gd name="connsiteX15" fmla="*/ 610176 w 2466975"/>
              <a:gd name="connsiteY15" fmla="*/ 32448 h 4969443"/>
              <a:gd name="connsiteX16" fmla="*/ 577909 w 2466975"/>
              <a:gd name="connsiteY16" fmla="*/ 0 h 4969443"/>
              <a:gd name="connsiteX17" fmla="*/ 343649 w 2466975"/>
              <a:gd name="connsiteY17" fmla="*/ 0 h 4969443"/>
              <a:gd name="connsiteX18" fmla="*/ 0 w 2466975"/>
              <a:gd name="connsiteY18" fmla="*/ 4969443 h 4969443"/>
              <a:gd name="connsiteX19" fmla="*/ 2466975 w 2466975"/>
              <a:gd name="connsiteY19" fmla="*/ 4969443 h 4969443"/>
              <a:gd name="connsiteX20" fmla="*/ 0 w 2466975"/>
              <a:gd name="connsiteY20" fmla="*/ 4969443 h 4969443"/>
              <a:gd name="connsiteX0" fmla="*/ 228237 w 2233214"/>
              <a:gd name="connsiteY0" fmla="*/ 0 h 4849619"/>
              <a:gd name="connsiteX1" fmla="*/ 0 w 2233214"/>
              <a:gd name="connsiteY1" fmla="*/ 229518 h 4849619"/>
              <a:gd name="connsiteX2" fmla="*/ 0 w 2233214"/>
              <a:gd name="connsiteY2" fmla="*/ 4620101 h 4849619"/>
              <a:gd name="connsiteX3" fmla="*/ 228237 w 2233214"/>
              <a:gd name="connsiteY3" fmla="*/ 4849619 h 4849619"/>
              <a:gd name="connsiteX4" fmla="*/ 2004977 w 2233214"/>
              <a:gd name="connsiteY4" fmla="*/ 4849619 h 4849619"/>
              <a:gd name="connsiteX5" fmla="*/ 2233214 w 2233214"/>
              <a:gd name="connsiteY5" fmla="*/ 4620101 h 4849619"/>
              <a:gd name="connsiteX6" fmla="*/ 2233214 w 2233214"/>
              <a:gd name="connsiteY6" fmla="*/ 229518 h 4849619"/>
              <a:gd name="connsiteX7" fmla="*/ 2004977 w 2233214"/>
              <a:gd name="connsiteY7" fmla="*/ 0 h 4849619"/>
              <a:gd name="connsiteX8" fmla="*/ 1770072 w 2233214"/>
              <a:gd name="connsiteY8" fmla="*/ 0 h 4849619"/>
              <a:gd name="connsiteX9" fmla="*/ 1737804 w 2233214"/>
              <a:gd name="connsiteY9" fmla="*/ 32448 h 4849619"/>
              <a:gd name="connsiteX10" fmla="*/ 1739095 w 2233214"/>
              <a:gd name="connsiteY10" fmla="*/ 49754 h 4849619"/>
              <a:gd name="connsiteX11" fmla="*/ 1609058 w 2233214"/>
              <a:gd name="connsiteY11" fmla="*/ 181170 h 4849619"/>
              <a:gd name="connsiteX12" fmla="*/ 624908 w 2233214"/>
              <a:gd name="connsiteY12" fmla="*/ 181170 h 4849619"/>
              <a:gd name="connsiteX13" fmla="*/ 494001 w 2233214"/>
              <a:gd name="connsiteY13" fmla="*/ 50849 h 4849619"/>
              <a:gd name="connsiteX14" fmla="*/ 494764 w 2233214"/>
              <a:gd name="connsiteY14" fmla="*/ 36018 h 4849619"/>
              <a:gd name="connsiteX15" fmla="*/ 494764 w 2233214"/>
              <a:gd name="connsiteY15" fmla="*/ 32448 h 4849619"/>
              <a:gd name="connsiteX16" fmla="*/ 462497 w 2233214"/>
              <a:gd name="connsiteY16" fmla="*/ 0 h 4849619"/>
              <a:gd name="connsiteX17" fmla="*/ 228237 w 2233214"/>
              <a:gd name="connsiteY17" fmla="*/ 0 h 4849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33214" h="4849619">
                <a:moveTo>
                  <a:pt x="228237" y="0"/>
                </a:moveTo>
                <a:cubicBezTo>
                  <a:pt x="102185" y="0"/>
                  <a:pt x="0" y="102759"/>
                  <a:pt x="0" y="229518"/>
                </a:cubicBezTo>
                <a:lnTo>
                  <a:pt x="0" y="4620101"/>
                </a:lnTo>
                <a:cubicBezTo>
                  <a:pt x="0" y="4746855"/>
                  <a:pt x="102185" y="4849619"/>
                  <a:pt x="228237" y="4849619"/>
                </a:cubicBezTo>
                <a:lnTo>
                  <a:pt x="2004977" y="4849619"/>
                </a:lnTo>
                <a:cubicBezTo>
                  <a:pt x="2131023" y="4849619"/>
                  <a:pt x="2233214" y="4746855"/>
                  <a:pt x="2233214" y="4620101"/>
                </a:cubicBezTo>
                <a:lnTo>
                  <a:pt x="2233214" y="229518"/>
                </a:lnTo>
                <a:cubicBezTo>
                  <a:pt x="2233214" y="102759"/>
                  <a:pt x="2131023" y="0"/>
                  <a:pt x="2004977" y="0"/>
                </a:cubicBezTo>
                <a:lnTo>
                  <a:pt x="1770072" y="0"/>
                </a:lnTo>
                <a:cubicBezTo>
                  <a:pt x="1752249" y="0"/>
                  <a:pt x="1737804" y="14528"/>
                  <a:pt x="1737804" y="32448"/>
                </a:cubicBezTo>
                <a:cubicBezTo>
                  <a:pt x="1738611" y="38182"/>
                  <a:pt x="1739041" y="43963"/>
                  <a:pt x="1739095" y="49754"/>
                </a:cubicBezTo>
                <a:cubicBezTo>
                  <a:pt x="1739278" y="122154"/>
                  <a:pt x="1681057" y="180990"/>
                  <a:pt x="1609058" y="181170"/>
                </a:cubicBezTo>
                <a:lnTo>
                  <a:pt x="624908" y="181170"/>
                </a:lnTo>
                <a:cubicBezTo>
                  <a:pt x="552973" y="181534"/>
                  <a:pt x="494364" y="123188"/>
                  <a:pt x="494001" y="50849"/>
                </a:cubicBezTo>
                <a:cubicBezTo>
                  <a:pt x="493977" y="45895"/>
                  <a:pt x="494230" y="40943"/>
                  <a:pt x="494764" y="36018"/>
                </a:cubicBezTo>
                <a:lnTo>
                  <a:pt x="494764" y="32448"/>
                </a:lnTo>
                <a:cubicBezTo>
                  <a:pt x="494764" y="14528"/>
                  <a:pt x="480318" y="0"/>
                  <a:pt x="462497" y="0"/>
                </a:cubicBezTo>
                <a:lnTo>
                  <a:pt x="228237" y="0"/>
                </a:lnTo>
                <a:close/>
              </a:path>
            </a:pathLst>
          </a:custGeom>
          <a:ln w="57150">
            <a:noFill/>
          </a:ln>
        </p:spPr>
        <p:txBody>
          <a:bodyPr anchor="ctr"/>
          <a:lstStyle>
            <a:lvl1pPr marL="0" indent="0" algn="ctr">
              <a:buNone/>
              <a:defRPr lang="ru-RU" sz="140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 dirty="0"/>
          </a:p>
        </p:txBody>
      </p:sp>
      <p:sp>
        <p:nvSpPr>
          <p:cNvPr id="10" name="Текст 26">
            <a:extLst>
              <a:ext uri="{FF2B5EF4-FFF2-40B4-BE49-F238E27FC236}">
                <a16:creationId xmlns="" xmlns:a16="http://schemas.microsoft.com/office/drawing/2014/main" id="{0961BC55-3BDB-4FEF-AD70-B8D103A5AE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94638" y="1589904"/>
            <a:ext cx="8146500" cy="482677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eiusmod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="" xmlns:a16="http://schemas.microsoft.com/office/drawing/2014/main" id="{FF1B7D51-593E-4D8C-8544-3498025674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94637" y="1278035"/>
            <a:ext cx="8146502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Добавьте подзаголовок</a:t>
            </a:r>
          </a:p>
        </p:txBody>
      </p:sp>
      <p:sp>
        <p:nvSpPr>
          <p:cNvPr id="12" name="Текст 8">
            <a:extLst>
              <a:ext uri="{FF2B5EF4-FFF2-40B4-BE49-F238E27FC236}">
                <a16:creationId xmlns="" xmlns:a16="http://schemas.microsoft.com/office/drawing/2014/main" id="{E752E47D-478A-4EA9-AB18-E1B53B9ABFE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39891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9991BEF6-A22A-4657-A9FB-5955A7EFE2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735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02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="" xmlns:a16="http://schemas.microsoft.com/office/drawing/2014/main" id="{9991BEF6-A22A-4657-A9FB-5955A7EFE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54DBEEB9-F24C-4CB9-A8F8-6108D5B7678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081" y="0"/>
            <a:ext cx="10287919" cy="6858000"/>
          </a:xfrm>
          <a:prstGeom prst="rect">
            <a:avLst/>
          </a:prstGeom>
        </p:spPr>
      </p:pic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4" name="Текст 31">
            <a:extLst>
              <a:ext uri="{FF2B5EF4-FFF2-40B4-BE49-F238E27FC236}">
                <a16:creationId xmlns="" xmlns:a16="http://schemas.microsoft.com/office/drawing/2014/main" id="{F036B2D4-7BF4-427D-B575-3A205790E5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7663" y="1015999"/>
            <a:ext cx="2627391" cy="540067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ru-RU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ru-RU" dirty="0"/>
              <a:t>Содержание приложения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B47FEF8B-3D9B-4BCF-9F40-7807BC8396F4}"/>
              </a:ext>
            </a:extLst>
          </p:cNvPr>
          <p:cNvSpPr/>
          <p:nvPr userDrawn="1"/>
        </p:nvSpPr>
        <p:spPr>
          <a:xfrm>
            <a:off x="0" y="0"/>
            <a:ext cx="1872762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144000" bIns="720000" rtlCol="0" anchor="b">
            <a:noAutofit/>
          </a:bodyPr>
          <a:lstStyle/>
          <a:p>
            <a:pPr algn="ctr">
              <a:buClr>
                <a:srgbClr val="1937FF"/>
              </a:buClr>
              <a:defRPr/>
            </a:pPr>
            <a:r>
              <a:rPr lang="ru-RU" sz="4800" b="1" spc="300" dirty="0">
                <a:solidFill>
                  <a:prstClr val="white"/>
                </a:solidFill>
              </a:rPr>
              <a:t>Приложение</a:t>
            </a:r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="" xmlns:a16="http://schemas.microsoft.com/office/drawing/2014/main" id="{6339D6A4-AEE1-4A17-9885-9F532CE63C25}"/>
              </a:ext>
            </a:extLst>
          </p:cNvPr>
          <p:cNvSpPr/>
          <p:nvPr userDrawn="1"/>
        </p:nvSpPr>
        <p:spPr>
          <a:xfrm>
            <a:off x="1151998" y="5514003"/>
            <a:ext cx="441353" cy="441390"/>
          </a:xfrm>
          <a:custGeom>
            <a:avLst/>
            <a:gdLst>
              <a:gd name="connsiteX0" fmla="*/ 72368 w 572945"/>
              <a:gd name="connsiteY0" fmla="*/ 331981 h 572994"/>
              <a:gd name="connsiteX1" fmla="*/ 73162 w 572945"/>
              <a:gd name="connsiteY1" fmla="*/ 331981 h 572994"/>
              <a:gd name="connsiteX2" fmla="*/ 83827 w 572945"/>
              <a:gd name="connsiteY2" fmla="*/ 339670 h 572994"/>
              <a:gd name="connsiteX3" fmla="*/ 87844 w 572945"/>
              <a:gd name="connsiteY3" fmla="*/ 365115 h 572994"/>
              <a:gd name="connsiteX4" fmla="*/ 85165 w 572945"/>
              <a:gd name="connsiteY4" fmla="*/ 379251 h 572994"/>
              <a:gd name="connsiteX5" fmla="*/ 79660 w 572945"/>
              <a:gd name="connsiteY5" fmla="*/ 383864 h 572994"/>
              <a:gd name="connsiteX6" fmla="*/ 74700 w 572945"/>
              <a:gd name="connsiteY6" fmla="*/ 379797 h 572994"/>
              <a:gd name="connsiteX7" fmla="*/ 72368 w 572945"/>
              <a:gd name="connsiteY7" fmla="*/ 367148 h 572994"/>
              <a:gd name="connsiteX8" fmla="*/ 155153 w 572945"/>
              <a:gd name="connsiteY8" fmla="*/ 330394 h 572994"/>
              <a:gd name="connsiteX9" fmla="*/ 167057 w 572945"/>
              <a:gd name="connsiteY9" fmla="*/ 342100 h 572994"/>
              <a:gd name="connsiteX10" fmla="*/ 170530 w 572945"/>
              <a:gd name="connsiteY10" fmla="*/ 372952 h 572994"/>
              <a:gd name="connsiteX11" fmla="*/ 166462 w 572945"/>
              <a:gd name="connsiteY11" fmla="*/ 404746 h 572994"/>
              <a:gd name="connsiteX12" fmla="*/ 155153 w 572945"/>
              <a:gd name="connsiteY12" fmla="*/ 416601 h 572994"/>
              <a:gd name="connsiteX13" fmla="*/ 144092 w 572945"/>
              <a:gd name="connsiteY13" fmla="*/ 404598 h 572994"/>
              <a:gd name="connsiteX14" fmla="*/ 140025 w 572945"/>
              <a:gd name="connsiteY14" fmla="*/ 373250 h 572994"/>
              <a:gd name="connsiteX15" fmla="*/ 144042 w 572945"/>
              <a:gd name="connsiteY15" fmla="*/ 341951 h 572994"/>
              <a:gd name="connsiteX16" fmla="*/ 155153 w 572945"/>
              <a:gd name="connsiteY16" fmla="*/ 330394 h 572994"/>
              <a:gd name="connsiteX17" fmla="*/ 52379 w 572945"/>
              <a:gd name="connsiteY17" fmla="*/ 314125 h 572994"/>
              <a:gd name="connsiteX18" fmla="*/ 52379 w 572945"/>
              <a:gd name="connsiteY18" fmla="*/ 433515 h 572994"/>
              <a:gd name="connsiteX19" fmla="*/ 72220 w 572945"/>
              <a:gd name="connsiteY19" fmla="*/ 433515 h 572994"/>
              <a:gd name="connsiteX20" fmla="*/ 72220 w 572945"/>
              <a:gd name="connsiteY20" fmla="*/ 398794 h 572994"/>
              <a:gd name="connsiteX21" fmla="*/ 97189 w 572945"/>
              <a:gd name="connsiteY21" fmla="*/ 399149 h 572994"/>
              <a:gd name="connsiteX22" fmla="*/ 100939 w 572945"/>
              <a:gd name="connsiteY22" fmla="*/ 393834 h 572994"/>
              <a:gd name="connsiteX23" fmla="*/ 108032 w 572945"/>
              <a:gd name="connsiteY23" fmla="*/ 360105 h 572994"/>
              <a:gd name="connsiteX24" fmla="*/ 102328 w 572945"/>
              <a:gd name="connsiteY24" fmla="*/ 332824 h 572994"/>
              <a:gd name="connsiteX25" fmla="*/ 73063 w 572945"/>
              <a:gd name="connsiteY25" fmla="*/ 314125 h 572994"/>
              <a:gd name="connsiteX26" fmla="*/ 338331 w 572945"/>
              <a:gd name="connsiteY26" fmla="*/ 311049 h 572994"/>
              <a:gd name="connsiteX27" fmla="*/ 293689 w 572945"/>
              <a:gd name="connsiteY27" fmla="*/ 329154 h 572994"/>
              <a:gd name="connsiteX28" fmla="*/ 279752 w 572945"/>
              <a:gd name="connsiteY28" fmla="*/ 374192 h 572994"/>
              <a:gd name="connsiteX29" fmla="*/ 294880 w 572945"/>
              <a:gd name="connsiteY29" fmla="*/ 419081 h 572994"/>
              <a:gd name="connsiteX30" fmla="*/ 338678 w 572945"/>
              <a:gd name="connsiteY30" fmla="*/ 437185 h 572994"/>
              <a:gd name="connsiteX31" fmla="*/ 339621 w 572945"/>
              <a:gd name="connsiteY31" fmla="*/ 437185 h 572994"/>
              <a:gd name="connsiteX32" fmla="*/ 339621 w 572945"/>
              <a:gd name="connsiteY32" fmla="*/ 416303 h 572994"/>
              <a:gd name="connsiteX33" fmla="*/ 338678 w 572945"/>
              <a:gd name="connsiteY33" fmla="*/ 416303 h 572994"/>
              <a:gd name="connsiteX34" fmla="*/ 309860 w 572945"/>
              <a:gd name="connsiteY34" fmla="*/ 404002 h 572994"/>
              <a:gd name="connsiteX35" fmla="*/ 310108 w 572945"/>
              <a:gd name="connsiteY35" fmla="*/ 404002 h 572994"/>
              <a:gd name="connsiteX36" fmla="*/ 309661 w 572945"/>
              <a:gd name="connsiteY36" fmla="*/ 344084 h 572994"/>
              <a:gd name="connsiteX37" fmla="*/ 338331 w 572945"/>
              <a:gd name="connsiteY37" fmla="*/ 331932 h 572994"/>
              <a:gd name="connsiteX38" fmla="*/ 339273 w 572945"/>
              <a:gd name="connsiteY38" fmla="*/ 331932 h 572994"/>
              <a:gd name="connsiteX39" fmla="*/ 339273 w 572945"/>
              <a:gd name="connsiteY39" fmla="*/ 311049 h 572994"/>
              <a:gd name="connsiteX40" fmla="*/ 263929 w 572945"/>
              <a:gd name="connsiteY40" fmla="*/ 311049 h 572994"/>
              <a:gd name="connsiteX41" fmla="*/ 219287 w 572945"/>
              <a:gd name="connsiteY41" fmla="*/ 329154 h 572994"/>
              <a:gd name="connsiteX42" fmla="*/ 205350 w 572945"/>
              <a:gd name="connsiteY42" fmla="*/ 374192 h 572994"/>
              <a:gd name="connsiteX43" fmla="*/ 220478 w 572945"/>
              <a:gd name="connsiteY43" fmla="*/ 419081 h 572994"/>
              <a:gd name="connsiteX44" fmla="*/ 264276 w 572945"/>
              <a:gd name="connsiteY44" fmla="*/ 437185 h 572994"/>
              <a:gd name="connsiteX45" fmla="*/ 265218 w 572945"/>
              <a:gd name="connsiteY45" fmla="*/ 437185 h 572994"/>
              <a:gd name="connsiteX46" fmla="*/ 265218 w 572945"/>
              <a:gd name="connsiteY46" fmla="*/ 416303 h 572994"/>
              <a:gd name="connsiteX47" fmla="*/ 264276 w 572945"/>
              <a:gd name="connsiteY47" fmla="*/ 416303 h 572994"/>
              <a:gd name="connsiteX48" fmla="*/ 235904 w 572945"/>
              <a:gd name="connsiteY48" fmla="*/ 404002 h 572994"/>
              <a:gd name="connsiteX49" fmla="*/ 235706 w 572945"/>
              <a:gd name="connsiteY49" fmla="*/ 404002 h 572994"/>
              <a:gd name="connsiteX50" fmla="*/ 235259 w 572945"/>
              <a:gd name="connsiteY50" fmla="*/ 344084 h 572994"/>
              <a:gd name="connsiteX51" fmla="*/ 263929 w 572945"/>
              <a:gd name="connsiteY51" fmla="*/ 331932 h 572994"/>
              <a:gd name="connsiteX52" fmla="*/ 264871 w 572945"/>
              <a:gd name="connsiteY52" fmla="*/ 331932 h 572994"/>
              <a:gd name="connsiteX53" fmla="*/ 264871 w 572945"/>
              <a:gd name="connsiteY53" fmla="*/ 311049 h 572994"/>
              <a:gd name="connsiteX54" fmla="*/ 155104 w 572945"/>
              <a:gd name="connsiteY54" fmla="*/ 311049 h 572994"/>
              <a:gd name="connsiteX55" fmla="*/ 130303 w 572945"/>
              <a:gd name="connsiteY55" fmla="*/ 328410 h 572994"/>
              <a:gd name="connsiteX56" fmla="*/ 121474 w 572945"/>
              <a:gd name="connsiteY56" fmla="*/ 373051 h 572994"/>
              <a:gd name="connsiteX57" fmla="*/ 129906 w 572945"/>
              <a:gd name="connsiteY57" fmla="*/ 418635 h 572994"/>
              <a:gd name="connsiteX58" fmla="*/ 155054 w 572945"/>
              <a:gd name="connsiteY58" fmla="*/ 435896 h 572994"/>
              <a:gd name="connsiteX59" fmla="*/ 181293 w 572945"/>
              <a:gd name="connsiteY59" fmla="*/ 417791 h 572994"/>
              <a:gd name="connsiteX60" fmla="*/ 190122 w 572945"/>
              <a:gd name="connsiteY60" fmla="*/ 372853 h 572994"/>
              <a:gd name="connsiteX61" fmla="*/ 181006 w 572945"/>
              <a:gd name="connsiteY61" fmla="*/ 328265 h 572994"/>
              <a:gd name="connsiteX62" fmla="*/ 181045 w 572945"/>
              <a:gd name="connsiteY62" fmla="*/ 328311 h 572994"/>
              <a:gd name="connsiteX63" fmla="*/ 180995 w 572945"/>
              <a:gd name="connsiteY63" fmla="*/ 328212 h 572994"/>
              <a:gd name="connsiteX64" fmla="*/ 181006 w 572945"/>
              <a:gd name="connsiteY64" fmla="*/ 328265 h 572994"/>
              <a:gd name="connsiteX65" fmla="*/ 169916 w 572945"/>
              <a:gd name="connsiteY65" fmla="*/ 315383 h 572994"/>
              <a:gd name="connsiteX66" fmla="*/ 155104 w 572945"/>
              <a:gd name="connsiteY66" fmla="*/ 311049 h 572994"/>
              <a:gd name="connsiteX67" fmla="*/ 515953 w 572945"/>
              <a:gd name="connsiteY67" fmla="*/ 308371 h 572994"/>
              <a:gd name="connsiteX68" fmla="*/ 514416 w 572945"/>
              <a:gd name="connsiteY68" fmla="*/ 310008 h 572994"/>
              <a:gd name="connsiteX69" fmla="*/ 470171 w 572945"/>
              <a:gd name="connsiteY69" fmla="*/ 356236 h 572994"/>
              <a:gd name="connsiteX70" fmla="*/ 470171 w 572945"/>
              <a:gd name="connsiteY70" fmla="*/ 314125 h 572994"/>
              <a:gd name="connsiteX71" fmla="*/ 450826 w 572945"/>
              <a:gd name="connsiteY71" fmla="*/ 314125 h 572994"/>
              <a:gd name="connsiteX72" fmla="*/ 450826 w 572945"/>
              <a:gd name="connsiteY72" fmla="*/ 433813 h 572994"/>
              <a:gd name="connsiteX73" fmla="*/ 470171 w 572945"/>
              <a:gd name="connsiteY73" fmla="*/ 433813 h 572994"/>
              <a:gd name="connsiteX74" fmla="*/ 470171 w 572945"/>
              <a:gd name="connsiteY74" fmla="*/ 384658 h 572994"/>
              <a:gd name="connsiteX75" fmla="*/ 498245 w 572945"/>
              <a:gd name="connsiteY75" fmla="*/ 354897 h 572994"/>
              <a:gd name="connsiteX76" fmla="*/ 501073 w 572945"/>
              <a:gd name="connsiteY76" fmla="*/ 433763 h 572994"/>
              <a:gd name="connsiteX77" fmla="*/ 520914 w 572945"/>
              <a:gd name="connsiteY77" fmla="*/ 433763 h 572994"/>
              <a:gd name="connsiteX78" fmla="*/ 423595 w 572945"/>
              <a:gd name="connsiteY78" fmla="*/ 308173 h 572994"/>
              <a:gd name="connsiteX79" fmla="*/ 422058 w 572945"/>
              <a:gd name="connsiteY79" fmla="*/ 309809 h 572994"/>
              <a:gd name="connsiteX80" fmla="*/ 377813 w 572945"/>
              <a:gd name="connsiteY80" fmla="*/ 356038 h 572994"/>
              <a:gd name="connsiteX81" fmla="*/ 377813 w 572945"/>
              <a:gd name="connsiteY81" fmla="*/ 313926 h 572994"/>
              <a:gd name="connsiteX82" fmla="*/ 358469 w 572945"/>
              <a:gd name="connsiteY82" fmla="*/ 313926 h 572994"/>
              <a:gd name="connsiteX83" fmla="*/ 358469 w 572945"/>
              <a:gd name="connsiteY83" fmla="*/ 433614 h 572994"/>
              <a:gd name="connsiteX84" fmla="*/ 377813 w 572945"/>
              <a:gd name="connsiteY84" fmla="*/ 433614 h 572994"/>
              <a:gd name="connsiteX85" fmla="*/ 377813 w 572945"/>
              <a:gd name="connsiteY85" fmla="*/ 384459 h 572994"/>
              <a:gd name="connsiteX86" fmla="*/ 405888 w 572945"/>
              <a:gd name="connsiteY86" fmla="*/ 354698 h 572994"/>
              <a:gd name="connsiteX87" fmla="*/ 408715 w 572945"/>
              <a:gd name="connsiteY87" fmla="*/ 433565 h 572994"/>
              <a:gd name="connsiteX88" fmla="*/ 428556 w 572945"/>
              <a:gd name="connsiteY88" fmla="*/ 433565 h 572994"/>
              <a:gd name="connsiteX89" fmla="*/ 461739 w 572945"/>
              <a:gd name="connsiteY89" fmla="*/ 158377 h 572994"/>
              <a:gd name="connsiteX90" fmla="*/ 469774 w 572945"/>
              <a:gd name="connsiteY90" fmla="*/ 158377 h 572994"/>
              <a:gd name="connsiteX91" fmla="*/ 481778 w 572945"/>
              <a:gd name="connsiteY91" fmla="*/ 163634 h 572994"/>
              <a:gd name="connsiteX92" fmla="*/ 485895 w 572945"/>
              <a:gd name="connsiteY92" fmla="*/ 180003 h 572994"/>
              <a:gd name="connsiteX93" fmla="*/ 461094 w 572945"/>
              <a:gd name="connsiteY93" fmla="*/ 180003 h 572994"/>
              <a:gd name="connsiteX94" fmla="*/ 192404 w 572945"/>
              <a:gd name="connsiteY94" fmla="*/ 155698 h 572994"/>
              <a:gd name="connsiteX95" fmla="*/ 205449 w 572945"/>
              <a:gd name="connsiteY95" fmla="*/ 167107 h 572994"/>
              <a:gd name="connsiteX96" fmla="*/ 209318 w 572945"/>
              <a:gd name="connsiteY96" fmla="*/ 197760 h 572994"/>
              <a:gd name="connsiteX97" fmla="*/ 204804 w 572945"/>
              <a:gd name="connsiteY97" fmla="*/ 229306 h 572994"/>
              <a:gd name="connsiteX98" fmla="*/ 204754 w 572945"/>
              <a:gd name="connsiteY98" fmla="*/ 229108 h 572994"/>
              <a:gd name="connsiteX99" fmla="*/ 192354 w 572945"/>
              <a:gd name="connsiteY99" fmla="*/ 240666 h 572994"/>
              <a:gd name="connsiteX100" fmla="*/ 180301 w 572945"/>
              <a:gd name="connsiteY100" fmla="*/ 228910 h 572994"/>
              <a:gd name="connsiteX101" fmla="*/ 175787 w 572945"/>
              <a:gd name="connsiteY101" fmla="*/ 198058 h 572994"/>
              <a:gd name="connsiteX102" fmla="*/ 180251 w 572945"/>
              <a:gd name="connsiteY102" fmla="*/ 166958 h 572994"/>
              <a:gd name="connsiteX103" fmla="*/ 192404 w 572945"/>
              <a:gd name="connsiteY103" fmla="*/ 155698 h 572994"/>
              <a:gd name="connsiteX104" fmla="*/ 440609 w 572945"/>
              <a:gd name="connsiteY104" fmla="*/ 138536 h 572994"/>
              <a:gd name="connsiteX105" fmla="*/ 436541 w 572945"/>
              <a:gd name="connsiteY105" fmla="*/ 258919 h 572994"/>
              <a:gd name="connsiteX106" fmla="*/ 458664 w 572945"/>
              <a:gd name="connsiteY106" fmla="*/ 258919 h 572994"/>
              <a:gd name="connsiteX107" fmla="*/ 460796 w 572945"/>
              <a:gd name="connsiteY107" fmla="*/ 199993 h 572994"/>
              <a:gd name="connsiteX108" fmla="*/ 488425 w 572945"/>
              <a:gd name="connsiteY108" fmla="*/ 199993 h 572994"/>
              <a:gd name="connsiteX109" fmla="*/ 494625 w 572945"/>
              <a:gd name="connsiteY109" fmla="*/ 258720 h 572994"/>
              <a:gd name="connsiteX110" fmla="*/ 516945 w 572945"/>
              <a:gd name="connsiteY110" fmla="*/ 258720 h 572994"/>
              <a:gd name="connsiteX111" fmla="*/ 506727 w 572945"/>
              <a:gd name="connsiteY111" fmla="*/ 170777 h 572994"/>
              <a:gd name="connsiteX112" fmla="*/ 496162 w 572945"/>
              <a:gd name="connsiteY112" fmla="*/ 145034 h 572994"/>
              <a:gd name="connsiteX113" fmla="*/ 473395 w 572945"/>
              <a:gd name="connsiteY113" fmla="*/ 138536 h 572994"/>
              <a:gd name="connsiteX114" fmla="*/ 352517 w 572945"/>
              <a:gd name="connsiteY114" fmla="*/ 138536 h 572994"/>
              <a:gd name="connsiteX115" fmla="*/ 352517 w 572945"/>
              <a:gd name="connsiteY115" fmla="*/ 158377 h 572994"/>
              <a:gd name="connsiteX116" fmla="*/ 370869 w 572945"/>
              <a:gd name="connsiteY116" fmla="*/ 158377 h 572994"/>
              <a:gd name="connsiteX117" fmla="*/ 371067 w 572945"/>
              <a:gd name="connsiteY117" fmla="*/ 258770 h 572994"/>
              <a:gd name="connsiteX118" fmla="*/ 393190 w 572945"/>
              <a:gd name="connsiteY118" fmla="*/ 258770 h 572994"/>
              <a:gd name="connsiteX119" fmla="*/ 393190 w 572945"/>
              <a:gd name="connsiteY119" fmla="*/ 158377 h 572994"/>
              <a:gd name="connsiteX120" fmla="*/ 411840 w 572945"/>
              <a:gd name="connsiteY120" fmla="*/ 158377 h 572994"/>
              <a:gd name="connsiteX121" fmla="*/ 411840 w 572945"/>
              <a:gd name="connsiteY121" fmla="*/ 138536 h 572994"/>
              <a:gd name="connsiteX122" fmla="*/ 256141 w 572945"/>
              <a:gd name="connsiteY122" fmla="*/ 138536 h 572994"/>
              <a:gd name="connsiteX123" fmla="*/ 256141 w 572945"/>
              <a:gd name="connsiteY123" fmla="*/ 172761 h 572994"/>
              <a:gd name="connsiteX124" fmla="*/ 265466 w 572945"/>
              <a:gd name="connsiteY124" fmla="*/ 192602 h 572994"/>
              <a:gd name="connsiteX125" fmla="*/ 287737 w 572945"/>
              <a:gd name="connsiteY125" fmla="*/ 200538 h 572994"/>
              <a:gd name="connsiteX126" fmla="*/ 303858 w 572945"/>
              <a:gd name="connsiteY126" fmla="*/ 200637 h 572994"/>
              <a:gd name="connsiteX127" fmla="*/ 303858 w 572945"/>
              <a:gd name="connsiteY127" fmla="*/ 258770 h 572994"/>
              <a:gd name="connsiteX128" fmla="*/ 325980 w 572945"/>
              <a:gd name="connsiteY128" fmla="*/ 258770 h 572994"/>
              <a:gd name="connsiteX129" fmla="*/ 325980 w 572945"/>
              <a:gd name="connsiteY129" fmla="*/ 138536 h 572994"/>
              <a:gd name="connsiteX130" fmla="*/ 303858 w 572945"/>
              <a:gd name="connsiteY130" fmla="*/ 138536 h 572994"/>
              <a:gd name="connsiteX131" fmla="*/ 303858 w 572945"/>
              <a:gd name="connsiteY131" fmla="*/ 180449 h 572994"/>
              <a:gd name="connsiteX132" fmla="*/ 291805 w 572945"/>
              <a:gd name="connsiteY132" fmla="*/ 180449 h 572994"/>
              <a:gd name="connsiteX133" fmla="*/ 280793 w 572945"/>
              <a:gd name="connsiteY133" fmla="*/ 177077 h 572994"/>
              <a:gd name="connsiteX134" fmla="*/ 278263 w 572945"/>
              <a:gd name="connsiteY134" fmla="*/ 170629 h 572994"/>
              <a:gd name="connsiteX135" fmla="*/ 278264 w 572945"/>
              <a:gd name="connsiteY135" fmla="*/ 138536 h 572994"/>
              <a:gd name="connsiteX136" fmla="*/ 52676 w 572945"/>
              <a:gd name="connsiteY136" fmla="*/ 138536 h 572994"/>
              <a:gd name="connsiteX137" fmla="*/ 52676 w 572945"/>
              <a:gd name="connsiteY137" fmla="*/ 258919 h 572994"/>
              <a:gd name="connsiteX138" fmla="*/ 74799 w 572945"/>
              <a:gd name="connsiteY138" fmla="*/ 258919 h 572994"/>
              <a:gd name="connsiteX139" fmla="*/ 74799 w 572945"/>
              <a:gd name="connsiteY139" fmla="*/ 158377 h 572994"/>
              <a:gd name="connsiteX140" fmla="*/ 101980 w 572945"/>
              <a:gd name="connsiteY140" fmla="*/ 158377 h 572994"/>
              <a:gd name="connsiteX141" fmla="*/ 101980 w 572945"/>
              <a:gd name="connsiteY141" fmla="*/ 258720 h 572994"/>
              <a:gd name="connsiteX142" fmla="*/ 124102 w 572945"/>
              <a:gd name="connsiteY142" fmla="*/ 258720 h 572994"/>
              <a:gd name="connsiteX143" fmla="*/ 124102 w 572945"/>
              <a:gd name="connsiteY143" fmla="*/ 138536 h 572994"/>
              <a:gd name="connsiteX144" fmla="*/ 192354 w 572945"/>
              <a:gd name="connsiteY144" fmla="*/ 135114 h 572994"/>
              <a:gd name="connsiteX145" fmla="*/ 164478 w 572945"/>
              <a:gd name="connsiteY145" fmla="*/ 152673 h 572994"/>
              <a:gd name="connsiteX146" fmla="*/ 154558 w 572945"/>
              <a:gd name="connsiteY146" fmla="*/ 197661 h 572994"/>
              <a:gd name="connsiteX147" fmla="*/ 164032 w 572945"/>
              <a:gd name="connsiteY147" fmla="*/ 243542 h 572994"/>
              <a:gd name="connsiteX148" fmla="*/ 192354 w 572945"/>
              <a:gd name="connsiteY148" fmla="*/ 261051 h 572994"/>
              <a:gd name="connsiteX149" fmla="*/ 221867 w 572945"/>
              <a:gd name="connsiteY149" fmla="*/ 242699 h 572994"/>
              <a:gd name="connsiteX150" fmla="*/ 231787 w 572945"/>
              <a:gd name="connsiteY150" fmla="*/ 197463 h 572994"/>
              <a:gd name="connsiteX151" fmla="*/ 221569 w 572945"/>
              <a:gd name="connsiteY151" fmla="*/ 152574 h 572994"/>
              <a:gd name="connsiteX152" fmla="*/ 192354 w 572945"/>
              <a:gd name="connsiteY152" fmla="*/ 135114 h 572994"/>
              <a:gd name="connsiteX153" fmla="*/ 22569 w 572945"/>
              <a:gd name="connsiteY153" fmla="*/ 0 h 572994"/>
              <a:gd name="connsiteX154" fmla="*/ 550377 w 572945"/>
              <a:gd name="connsiteY154" fmla="*/ 0 h 572994"/>
              <a:gd name="connsiteX155" fmla="*/ 572945 w 572945"/>
              <a:gd name="connsiteY155" fmla="*/ 22569 h 572994"/>
              <a:gd name="connsiteX156" fmla="*/ 572945 w 572945"/>
              <a:gd name="connsiteY156" fmla="*/ 550425 h 572994"/>
              <a:gd name="connsiteX157" fmla="*/ 550377 w 572945"/>
              <a:gd name="connsiteY157" fmla="*/ 572994 h 572994"/>
              <a:gd name="connsiteX158" fmla="*/ 22569 w 572945"/>
              <a:gd name="connsiteY158" fmla="*/ 572994 h 572994"/>
              <a:gd name="connsiteX159" fmla="*/ 0 w 572945"/>
              <a:gd name="connsiteY159" fmla="*/ 550425 h 572994"/>
              <a:gd name="connsiteX160" fmla="*/ 0 w 572945"/>
              <a:gd name="connsiteY160" fmla="*/ 22569 h 572994"/>
              <a:gd name="connsiteX161" fmla="*/ 22569 w 572945"/>
              <a:gd name="connsiteY161" fmla="*/ 0 h 572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572945" h="572994">
                <a:moveTo>
                  <a:pt x="72368" y="331981"/>
                </a:moveTo>
                <a:lnTo>
                  <a:pt x="73162" y="331981"/>
                </a:lnTo>
                <a:cubicBezTo>
                  <a:pt x="77956" y="332117"/>
                  <a:pt x="82182" y="335164"/>
                  <a:pt x="83827" y="339670"/>
                </a:cubicBezTo>
                <a:cubicBezTo>
                  <a:pt x="86987" y="347762"/>
                  <a:pt x="88358" y="356442"/>
                  <a:pt x="87844" y="365115"/>
                </a:cubicBezTo>
                <a:cubicBezTo>
                  <a:pt x="88047" y="369970"/>
                  <a:pt x="87130" y="374807"/>
                  <a:pt x="85165" y="379251"/>
                </a:cubicBezTo>
                <a:cubicBezTo>
                  <a:pt x="83578" y="382327"/>
                  <a:pt x="81743" y="383864"/>
                  <a:pt x="79660" y="383864"/>
                </a:cubicBezTo>
                <a:cubicBezTo>
                  <a:pt x="77576" y="383864"/>
                  <a:pt x="75989" y="382525"/>
                  <a:pt x="74700" y="379797"/>
                </a:cubicBezTo>
                <a:cubicBezTo>
                  <a:pt x="72940" y="375823"/>
                  <a:pt x="72141" y="371489"/>
                  <a:pt x="72368" y="367148"/>
                </a:cubicBezTo>
                <a:close/>
                <a:moveTo>
                  <a:pt x="155153" y="330394"/>
                </a:moveTo>
                <a:cubicBezTo>
                  <a:pt x="159964" y="330394"/>
                  <a:pt x="164527" y="334213"/>
                  <a:pt x="167057" y="342100"/>
                </a:cubicBezTo>
                <a:cubicBezTo>
                  <a:pt x="169731" y="352156"/>
                  <a:pt x="170901" y="362553"/>
                  <a:pt x="170530" y="372952"/>
                </a:cubicBezTo>
                <a:cubicBezTo>
                  <a:pt x="170822" y="383696"/>
                  <a:pt x="169450" y="394422"/>
                  <a:pt x="166462" y="404746"/>
                </a:cubicBezTo>
                <a:cubicBezTo>
                  <a:pt x="163883" y="412633"/>
                  <a:pt x="160064" y="416601"/>
                  <a:pt x="155153" y="416601"/>
                </a:cubicBezTo>
                <a:cubicBezTo>
                  <a:pt x="150242" y="416601"/>
                  <a:pt x="146720" y="412534"/>
                  <a:pt x="144092" y="404598"/>
                </a:cubicBezTo>
                <a:cubicBezTo>
                  <a:pt x="141132" y="394419"/>
                  <a:pt x="139760" y="383846"/>
                  <a:pt x="140025" y="373250"/>
                </a:cubicBezTo>
                <a:cubicBezTo>
                  <a:pt x="139730" y="362672"/>
                  <a:pt x="141085" y="352112"/>
                  <a:pt x="144042" y="341951"/>
                </a:cubicBezTo>
                <a:cubicBezTo>
                  <a:pt x="146572" y="334313"/>
                  <a:pt x="150342" y="330394"/>
                  <a:pt x="155153" y="330394"/>
                </a:cubicBezTo>
                <a:close/>
                <a:moveTo>
                  <a:pt x="52379" y="314125"/>
                </a:moveTo>
                <a:lnTo>
                  <a:pt x="52379" y="433515"/>
                </a:lnTo>
                <a:lnTo>
                  <a:pt x="72220" y="433515"/>
                </a:lnTo>
                <a:lnTo>
                  <a:pt x="72220" y="398794"/>
                </a:lnTo>
                <a:cubicBezTo>
                  <a:pt x="79017" y="405787"/>
                  <a:pt x="90196" y="405946"/>
                  <a:pt x="97189" y="399149"/>
                </a:cubicBezTo>
                <a:cubicBezTo>
                  <a:pt x="98757" y="397625"/>
                  <a:pt x="100029" y="395822"/>
                  <a:pt x="100939" y="393834"/>
                </a:cubicBezTo>
                <a:cubicBezTo>
                  <a:pt x="106271" y="383425"/>
                  <a:pt x="108720" y="371779"/>
                  <a:pt x="108032" y="360105"/>
                </a:cubicBezTo>
                <a:cubicBezTo>
                  <a:pt x="108206" y="350699"/>
                  <a:pt x="106257" y="341374"/>
                  <a:pt x="102328" y="332824"/>
                </a:cubicBezTo>
                <a:cubicBezTo>
                  <a:pt x="97442" y="321085"/>
                  <a:pt x="85768" y="313626"/>
                  <a:pt x="73063" y="314125"/>
                </a:cubicBezTo>
                <a:close/>
                <a:moveTo>
                  <a:pt x="338331" y="311049"/>
                </a:moveTo>
                <a:cubicBezTo>
                  <a:pt x="318837" y="311049"/>
                  <a:pt x="303610" y="317150"/>
                  <a:pt x="293689" y="329154"/>
                </a:cubicBezTo>
                <a:cubicBezTo>
                  <a:pt x="284464" y="340016"/>
                  <a:pt x="279752" y="355195"/>
                  <a:pt x="279752" y="374192"/>
                </a:cubicBezTo>
                <a:cubicBezTo>
                  <a:pt x="279044" y="390514"/>
                  <a:pt x="284437" y="406516"/>
                  <a:pt x="294880" y="419081"/>
                </a:cubicBezTo>
                <a:cubicBezTo>
                  <a:pt x="306039" y="431359"/>
                  <a:pt x="322107" y="438000"/>
                  <a:pt x="338678" y="437185"/>
                </a:cubicBezTo>
                <a:lnTo>
                  <a:pt x="339621" y="437185"/>
                </a:lnTo>
                <a:lnTo>
                  <a:pt x="339621" y="416303"/>
                </a:lnTo>
                <a:lnTo>
                  <a:pt x="338678" y="416303"/>
                </a:lnTo>
                <a:cubicBezTo>
                  <a:pt x="327672" y="416961"/>
                  <a:pt x="316998" y="412405"/>
                  <a:pt x="309860" y="404002"/>
                </a:cubicBezTo>
                <a:lnTo>
                  <a:pt x="310108" y="404002"/>
                </a:lnTo>
                <a:cubicBezTo>
                  <a:pt x="297620" y="386032"/>
                  <a:pt x="297443" y="362239"/>
                  <a:pt x="309661" y="344084"/>
                </a:cubicBezTo>
                <a:cubicBezTo>
                  <a:pt x="316764" y="335735"/>
                  <a:pt x="327392" y="331230"/>
                  <a:pt x="338331" y="331932"/>
                </a:cubicBezTo>
                <a:lnTo>
                  <a:pt x="339273" y="331932"/>
                </a:lnTo>
                <a:lnTo>
                  <a:pt x="339273" y="311049"/>
                </a:lnTo>
                <a:close/>
                <a:moveTo>
                  <a:pt x="263929" y="311049"/>
                </a:moveTo>
                <a:cubicBezTo>
                  <a:pt x="244435" y="311049"/>
                  <a:pt x="229208" y="317150"/>
                  <a:pt x="219287" y="329154"/>
                </a:cubicBezTo>
                <a:cubicBezTo>
                  <a:pt x="210062" y="340016"/>
                  <a:pt x="205350" y="355195"/>
                  <a:pt x="205350" y="374192"/>
                </a:cubicBezTo>
                <a:cubicBezTo>
                  <a:pt x="204642" y="390514"/>
                  <a:pt x="210035" y="406516"/>
                  <a:pt x="220478" y="419081"/>
                </a:cubicBezTo>
                <a:cubicBezTo>
                  <a:pt x="231637" y="431359"/>
                  <a:pt x="247705" y="438000"/>
                  <a:pt x="264276" y="437185"/>
                </a:cubicBezTo>
                <a:lnTo>
                  <a:pt x="265218" y="437185"/>
                </a:lnTo>
                <a:lnTo>
                  <a:pt x="265218" y="416303"/>
                </a:lnTo>
                <a:lnTo>
                  <a:pt x="264276" y="416303"/>
                </a:lnTo>
                <a:cubicBezTo>
                  <a:pt x="253424" y="416819"/>
                  <a:pt x="242945" y="412276"/>
                  <a:pt x="235904" y="404002"/>
                </a:cubicBezTo>
                <a:lnTo>
                  <a:pt x="235706" y="404002"/>
                </a:lnTo>
                <a:cubicBezTo>
                  <a:pt x="223218" y="386032"/>
                  <a:pt x="223041" y="362239"/>
                  <a:pt x="235259" y="344084"/>
                </a:cubicBezTo>
                <a:cubicBezTo>
                  <a:pt x="242362" y="335735"/>
                  <a:pt x="252990" y="331230"/>
                  <a:pt x="263929" y="331932"/>
                </a:cubicBezTo>
                <a:lnTo>
                  <a:pt x="264871" y="331932"/>
                </a:lnTo>
                <a:lnTo>
                  <a:pt x="264871" y="311049"/>
                </a:lnTo>
                <a:close/>
                <a:moveTo>
                  <a:pt x="155104" y="311049"/>
                </a:moveTo>
                <a:cubicBezTo>
                  <a:pt x="144042" y="311049"/>
                  <a:pt x="136304" y="316903"/>
                  <a:pt x="130303" y="328410"/>
                </a:cubicBezTo>
                <a:cubicBezTo>
                  <a:pt x="123893" y="342390"/>
                  <a:pt x="120868" y="357684"/>
                  <a:pt x="121474" y="373051"/>
                </a:cubicBezTo>
                <a:cubicBezTo>
                  <a:pt x="120809" y="388687"/>
                  <a:pt x="123692" y="404271"/>
                  <a:pt x="129906" y="418635"/>
                </a:cubicBezTo>
                <a:cubicBezTo>
                  <a:pt x="135610" y="430092"/>
                  <a:pt x="144042" y="435896"/>
                  <a:pt x="155054" y="435896"/>
                </a:cubicBezTo>
                <a:cubicBezTo>
                  <a:pt x="166065" y="435896"/>
                  <a:pt x="174894" y="429795"/>
                  <a:pt x="181293" y="417791"/>
                </a:cubicBezTo>
                <a:cubicBezTo>
                  <a:pt x="187735" y="403716"/>
                  <a:pt x="190760" y="388318"/>
                  <a:pt x="190122" y="372853"/>
                </a:cubicBezTo>
                <a:lnTo>
                  <a:pt x="181006" y="328265"/>
                </a:lnTo>
                <a:lnTo>
                  <a:pt x="181045" y="328311"/>
                </a:lnTo>
                <a:lnTo>
                  <a:pt x="180995" y="328212"/>
                </a:lnTo>
                <a:lnTo>
                  <a:pt x="181006" y="328265"/>
                </a:lnTo>
                <a:lnTo>
                  <a:pt x="169916" y="315383"/>
                </a:lnTo>
                <a:cubicBezTo>
                  <a:pt x="165582" y="312500"/>
                  <a:pt x="160635" y="311049"/>
                  <a:pt x="155104" y="311049"/>
                </a:cubicBezTo>
                <a:close/>
                <a:moveTo>
                  <a:pt x="515953" y="308371"/>
                </a:moveTo>
                <a:lnTo>
                  <a:pt x="514416" y="310008"/>
                </a:lnTo>
                <a:lnTo>
                  <a:pt x="470171" y="356236"/>
                </a:lnTo>
                <a:lnTo>
                  <a:pt x="470171" y="314125"/>
                </a:lnTo>
                <a:lnTo>
                  <a:pt x="450826" y="314125"/>
                </a:lnTo>
                <a:lnTo>
                  <a:pt x="450826" y="433813"/>
                </a:lnTo>
                <a:lnTo>
                  <a:pt x="470171" y="433813"/>
                </a:lnTo>
                <a:lnTo>
                  <a:pt x="470171" y="384658"/>
                </a:lnTo>
                <a:lnTo>
                  <a:pt x="498245" y="354897"/>
                </a:lnTo>
                <a:cubicBezTo>
                  <a:pt x="498245" y="359212"/>
                  <a:pt x="501073" y="433763"/>
                  <a:pt x="501073" y="433763"/>
                </a:cubicBezTo>
                <a:lnTo>
                  <a:pt x="520914" y="433763"/>
                </a:lnTo>
                <a:close/>
                <a:moveTo>
                  <a:pt x="423595" y="308173"/>
                </a:moveTo>
                <a:lnTo>
                  <a:pt x="422058" y="309809"/>
                </a:lnTo>
                <a:lnTo>
                  <a:pt x="377813" y="356038"/>
                </a:lnTo>
                <a:lnTo>
                  <a:pt x="377813" y="313926"/>
                </a:lnTo>
                <a:lnTo>
                  <a:pt x="358469" y="313926"/>
                </a:lnTo>
                <a:lnTo>
                  <a:pt x="358469" y="433614"/>
                </a:lnTo>
                <a:lnTo>
                  <a:pt x="377813" y="433614"/>
                </a:lnTo>
                <a:lnTo>
                  <a:pt x="377813" y="384459"/>
                </a:lnTo>
                <a:lnTo>
                  <a:pt x="405888" y="354698"/>
                </a:lnTo>
                <a:lnTo>
                  <a:pt x="408715" y="433565"/>
                </a:lnTo>
                <a:lnTo>
                  <a:pt x="428556" y="433565"/>
                </a:lnTo>
                <a:close/>
                <a:moveTo>
                  <a:pt x="461739" y="158377"/>
                </a:moveTo>
                <a:lnTo>
                  <a:pt x="469774" y="158377"/>
                </a:lnTo>
                <a:cubicBezTo>
                  <a:pt x="474422" y="157898"/>
                  <a:pt x="478979" y="159894"/>
                  <a:pt x="481778" y="163634"/>
                </a:cubicBezTo>
                <a:cubicBezTo>
                  <a:pt x="484241" y="168757"/>
                  <a:pt x="485641" y="174325"/>
                  <a:pt x="485895" y="180003"/>
                </a:cubicBezTo>
                <a:lnTo>
                  <a:pt x="461094" y="180003"/>
                </a:lnTo>
                <a:close/>
                <a:moveTo>
                  <a:pt x="192404" y="155698"/>
                </a:moveTo>
                <a:cubicBezTo>
                  <a:pt x="197761" y="155698"/>
                  <a:pt x="202671" y="159418"/>
                  <a:pt x="205449" y="167107"/>
                </a:cubicBezTo>
                <a:cubicBezTo>
                  <a:pt x="208421" y="177041"/>
                  <a:pt x="209729" y="187399"/>
                  <a:pt x="209318" y="197760"/>
                </a:cubicBezTo>
                <a:cubicBezTo>
                  <a:pt x="209641" y="208457"/>
                  <a:pt x="208113" y="219129"/>
                  <a:pt x="204804" y="229306"/>
                </a:cubicBezTo>
                <a:lnTo>
                  <a:pt x="204754" y="229108"/>
                </a:lnTo>
                <a:cubicBezTo>
                  <a:pt x="201878" y="236896"/>
                  <a:pt x="197810" y="240666"/>
                  <a:pt x="192354" y="240666"/>
                </a:cubicBezTo>
                <a:cubicBezTo>
                  <a:pt x="186898" y="240666"/>
                  <a:pt x="183178" y="236846"/>
                  <a:pt x="180301" y="228910"/>
                </a:cubicBezTo>
                <a:cubicBezTo>
                  <a:pt x="177053" y="218957"/>
                  <a:pt x="175527" y="208524"/>
                  <a:pt x="175787" y="198058"/>
                </a:cubicBezTo>
                <a:cubicBezTo>
                  <a:pt x="175460" y="187511"/>
                  <a:pt x="176971" y="176987"/>
                  <a:pt x="180251" y="166958"/>
                </a:cubicBezTo>
                <a:cubicBezTo>
                  <a:pt x="183079" y="159369"/>
                  <a:pt x="187047" y="155698"/>
                  <a:pt x="192404" y="155698"/>
                </a:cubicBezTo>
                <a:close/>
                <a:moveTo>
                  <a:pt x="440609" y="138536"/>
                </a:moveTo>
                <a:lnTo>
                  <a:pt x="436541" y="258919"/>
                </a:lnTo>
                <a:lnTo>
                  <a:pt x="458664" y="258919"/>
                </a:lnTo>
                <a:lnTo>
                  <a:pt x="460796" y="199993"/>
                </a:lnTo>
                <a:lnTo>
                  <a:pt x="488425" y="199993"/>
                </a:lnTo>
                <a:lnTo>
                  <a:pt x="494625" y="258720"/>
                </a:lnTo>
                <a:lnTo>
                  <a:pt x="516945" y="258720"/>
                </a:lnTo>
                <a:lnTo>
                  <a:pt x="506727" y="170777"/>
                </a:lnTo>
                <a:cubicBezTo>
                  <a:pt x="507512" y="161003"/>
                  <a:pt x="503587" y="151440"/>
                  <a:pt x="496162" y="145034"/>
                </a:cubicBezTo>
                <a:cubicBezTo>
                  <a:pt x="489526" y="140357"/>
                  <a:pt x="481501" y="138066"/>
                  <a:pt x="473395" y="138536"/>
                </a:cubicBezTo>
                <a:close/>
                <a:moveTo>
                  <a:pt x="352517" y="138536"/>
                </a:moveTo>
                <a:lnTo>
                  <a:pt x="352517" y="158377"/>
                </a:lnTo>
                <a:lnTo>
                  <a:pt x="370869" y="158377"/>
                </a:lnTo>
                <a:lnTo>
                  <a:pt x="371067" y="258770"/>
                </a:lnTo>
                <a:lnTo>
                  <a:pt x="393190" y="258770"/>
                </a:lnTo>
                <a:lnTo>
                  <a:pt x="393190" y="158377"/>
                </a:lnTo>
                <a:lnTo>
                  <a:pt x="411840" y="158377"/>
                </a:lnTo>
                <a:lnTo>
                  <a:pt x="411840" y="138536"/>
                </a:lnTo>
                <a:close/>
                <a:moveTo>
                  <a:pt x="256141" y="138536"/>
                </a:moveTo>
                <a:lnTo>
                  <a:pt x="256141" y="172761"/>
                </a:lnTo>
                <a:cubicBezTo>
                  <a:pt x="256081" y="180446"/>
                  <a:pt x="259511" y="187744"/>
                  <a:pt x="265466" y="192602"/>
                </a:cubicBezTo>
                <a:cubicBezTo>
                  <a:pt x="271657" y="197904"/>
                  <a:pt x="279589" y="200731"/>
                  <a:pt x="287737" y="200538"/>
                </a:cubicBezTo>
                <a:lnTo>
                  <a:pt x="303858" y="200637"/>
                </a:lnTo>
                <a:lnTo>
                  <a:pt x="303858" y="258770"/>
                </a:lnTo>
                <a:lnTo>
                  <a:pt x="325980" y="258770"/>
                </a:lnTo>
                <a:lnTo>
                  <a:pt x="325980" y="138536"/>
                </a:lnTo>
                <a:lnTo>
                  <a:pt x="303858" y="138536"/>
                </a:lnTo>
                <a:lnTo>
                  <a:pt x="303858" y="180449"/>
                </a:lnTo>
                <a:lnTo>
                  <a:pt x="291805" y="180449"/>
                </a:lnTo>
                <a:cubicBezTo>
                  <a:pt x="287838" y="180773"/>
                  <a:pt x="283898" y="179566"/>
                  <a:pt x="280793" y="177077"/>
                </a:cubicBezTo>
                <a:cubicBezTo>
                  <a:pt x="279054" y="175396"/>
                  <a:pt x="278131" y="173043"/>
                  <a:pt x="278263" y="170629"/>
                </a:cubicBezTo>
                <a:lnTo>
                  <a:pt x="278264" y="138536"/>
                </a:lnTo>
                <a:close/>
                <a:moveTo>
                  <a:pt x="52676" y="138536"/>
                </a:moveTo>
                <a:lnTo>
                  <a:pt x="52676" y="258919"/>
                </a:lnTo>
                <a:lnTo>
                  <a:pt x="74799" y="258919"/>
                </a:lnTo>
                <a:lnTo>
                  <a:pt x="74799" y="158377"/>
                </a:lnTo>
                <a:lnTo>
                  <a:pt x="101980" y="158377"/>
                </a:lnTo>
                <a:lnTo>
                  <a:pt x="101980" y="258720"/>
                </a:lnTo>
                <a:lnTo>
                  <a:pt x="124102" y="258720"/>
                </a:lnTo>
                <a:lnTo>
                  <a:pt x="124102" y="138536"/>
                </a:lnTo>
                <a:close/>
                <a:moveTo>
                  <a:pt x="192354" y="135114"/>
                </a:moveTo>
                <a:cubicBezTo>
                  <a:pt x="180470" y="135160"/>
                  <a:pt x="169652" y="141974"/>
                  <a:pt x="164478" y="152673"/>
                </a:cubicBezTo>
                <a:cubicBezTo>
                  <a:pt x="157317" y="166552"/>
                  <a:pt x="153897" y="182057"/>
                  <a:pt x="154558" y="197661"/>
                </a:cubicBezTo>
                <a:cubicBezTo>
                  <a:pt x="153838" y="213506"/>
                  <a:pt x="157094" y="229279"/>
                  <a:pt x="164032" y="243542"/>
                </a:cubicBezTo>
                <a:cubicBezTo>
                  <a:pt x="169242" y="254410"/>
                  <a:pt x="180304" y="261248"/>
                  <a:pt x="192354" y="261051"/>
                </a:cubicBezTo>
                <a:cubicBezTo>
                  <a:pt x="204885" y="261056"/>
                  <a:pt x="216329" y="253939"/>
                  <a:pt x="221867" y="242699"/>
                </a:cubicBezTo>
                <a:cubicBezTo>
                  <a:pt x="229053" y="228740"/>
                  <a:pt x="232472" y="213148"/>
                  <a:pt x="231787" y="197463"/>
                </a:cubicBezTo>
                <a:cubicBezTo>
                  <a:pt x="232469" y="181854"/>
                  <a:pt x="228939" y="166350"/>
                  <a:pt x="221569" y="152574"/>
                </a:cubicBezTo>
                <a:cubicBezTo>
                  <a:pt x="215885" y="141727"/>
                  <a:pt x="204599" y="134982"/>
                  <a:pt x="192354" y="135114"/>
                </a:cubicBezTo>
                <a:close/>
                <a:moveTo>
                  <a:pt x="22569" y="0"/>
                </a:moveTo>
                <a:lnTo>
                  <a:pt x="550377" y="0"/>
                </a:lnTo>
                <a:cubicBezTo>
                  <a:pt x="562841" y="0"/>
                  <a:pt x="572945" y="10104"/>
                  <a:pt x="572945" y="22569"/>
                </a:cubicBezTo>
                <a:lnTo>
                  <a:pt x="572945" y="550425"/>
                </a:lnTo>
                <a:cubicBezTo>
                  <a:pt x="572945" y="562890"/>
                  <a:pt x="562841" y="572994"/>
                  <a:pt x="550377" y="572994"/>
                </a:cubicBezTo>
                <a:lnTo>
                  <a:pt x="22569" y="572994"/>
                </a:lnTo>
                <a:cubicBezTo>
                  <a:pt x="10104" y="572994"/>
                  <a:pt x="0" y="562890"/>
                  <a:pt x="0" y="550425"/>
                </a:cubicBezTo>
                <a:lnTo>
                  <a:pt x="0" y="22569"/>
                </a:lnTo>
                <a:cubicBezTo>
                  <a:pt x="0" y="10104"/>
                  <a:pt x="10104" y="0"/>
                  <a:pt x="22569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="" xmlns:a16="http://schemas.microsoft.com/office/drawing/2014/main" id="{33D3757C-747D-4FF9-9AC8-D741A53F6FF4}"/>
              </a:ext>
            </a:extLst>
          </p:cNvPr>
          <p:cNvCxnSpPr>
            <a:cxnSpLocks/>
          </p:cNvCxnSpPr>
          <p:nvPr userDrawn="1"/>
        </p:nvCxnSpPr>
        <p:spPr>
          <a:xfrm>
            <a:off x="1151998" y="5276397"/>
            <a:ext cx="41984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66823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6A444D67-F8CE-4F7C-A73B-78C309C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9D5186-85BD-4647-9A01-8226F56382D2}" type="slidenum">
              <a:rPr lang="ru-RU" smtClean="0"/>
              <a:t>‹#›</a:t>
            </a:fld>
            <a:endParaRPr lang="ru-RU"/>
          </a:p>
        </p:txBody>
      </p:sp>
      <p:grpSp>
        <p:nvGrpSpPr>
          <p:cNvPr id="26" name="Группа 25">
            <a:extLst>
              <a:ext uri="{FF2B5EF4-FFF2-40B4-BE49-F238E27FC236}">
                <a16:creationId xmlns="" xmlns:a16="http://schemas.microsoft.com/office/drawing/2014/main" id="{6E3DB81A-CBB7-443D-B186-3B9B9AC5FE43}"/>
              </a:ext>
            </a:extLst>
          </p:cNvPr>
          <p:cNvGrpSpPr/>
          <p:nvPr userDrawn="1"/>
        </p:nvGrpSpPr>
        <p:grpSpPr>
          <a:xfrm rot="5400000">
            <a:off x="-1060690" y="461365"/>
            <a:ext cx="1291830" cy="369097"/>
            <a:chOff x="632155" y="5349213"/>
            <a:chExt cx="3360373" cy="960114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="" xmlns:a16="http://schemas.microsoft.com/office/drawing/2014/main" id="{6BAE129E-D062-4C70-B6FC-760E6A2666DD}"/>
                </a:ext>
              </a:extLst>
            </p:cNvPr>
            <p:cNvSpPr/>
            <p:nvPr/>
          </p:nvSpPr>
          <p:spPr>
            <a:xfrm>
              <a:off x="632155" y="5349213"/>
              <a:ext cx="960107" cy="96010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="" xmlns:a16="http://schemas.microsoft.com/office/drawing/2014/main" id="{FAF0D6FB-4AAE-45BB-A6D2-F4BCD8309BE0}"/>
                </a:ext>
              </a:extLst>
            </p:cNvPr>
            <p:cNvSpPr/>
            <p:nvPr/>
          </p:nvSpPr>
          <p:spPr>
            <a:xfrm>
              <a:off x="1592261" y="5349213"/>
              <a:ext cx="960107" cy="960107"/>
            </a:xfrm>
            <a:prstGeom prst="rect">
              <a:avLst/>
            </a:prstGeom>
            <a:solidFill>
              <a:srgbClr val="2C56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="" xmlns:a16="http://schemas.microsoft.com/office/drawing/2014/main" id="{4F1717D7-EBA6-4A8E-BB2A-AC4B6AE5EB83}"/>
                </a:ext>
              </a:extLst>
            </p:cNvPr>
            <p:cNvSpPr/>
            <p:nvPr/>
          </p:nvSpPr>
          <p:spPr>
            <a:xfrm>
              <a:off x="2552368" y="5349213"/>
              <a:ext cx="960106" cy="960107"/>
            </a:xfrm>
            <a:prstGeom prst="rect">
              <a:avLst/>
            </a:prstGeom>
            <a:solidFill>
              <a:srgbClr val="F7A8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="" xmlns:a16="http://schemas.microsoft.com/office/drawing/2014/main" id="{08A2A0FD-8B3F-4359-B9EE-A79DF170B018}"/>
                </a:ext>
              </a:extLst>
            </p:cNvPr>
            <p:cNvSpPr/>
            <p:nvPr/>
          </p:nvSpPr>
          <p:spPr>
            <a:xfrm>
              <a:off x="3512475" y="5349213"/>
              <a:ext cx="480053" cy="48005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="" xmlns:a16="http://schemas.microsoft.com/office/drawing/2014/main" id="{0683CCA6-DEC1-4ED2-B94A-C55E2E6003BC}"/>
                </a:ext>
              </a:extLst>
            </p:cNvPr>
            <p:cNvSpPr/>
            <p:nvPr/>
          </p:nvSpPr>
          <p:spPr>
            <a:xfrm>
              <a:off x="3512475" y="5829274"/>
              <a:ext cx="480053" cy="4800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="" xmlns:a16="http://schemas.microsoft.com/office/drawing/2014/main" id="{4C520701-7495-4B13-86E4-38EE20190262}"/>
              </a:ext>
            </a:extLst>
          </p:cNvPr>
          <p:cNvGrpSpPr/>
          <p:nvPr userDrawn="1"/>
        </p:nvGrpSpPr>
        <p:grpSpPr>
          <a:xfrm rot="5400000">
            <a:off x="-1337511" y="2738906"/>
            <a:ext cx="1845470" cy="369094"/>
            <a:chOff x="6299597" y="4435281"/>
            <a:chExt cx="4800534" cy="960107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="" xmlns:a16="http://schemas.microsoft.com/office/drawing/2014/main" id="{C7B47708-1020-49F7-ADB6-91749C55E30D}"/>
                </a:ext>
              </a:extLst>
            </p:cNvPr>
            <p:cNvSpPr/>
            <p:nvPr userDrawn="1"/>
          </p:nvSpPr>
          <p:spPr>
            <a:xfrm>
              <a:off x="6299597" y="4435281"/>
              <a:ext cx="960107" cy="960107"/>
            </a:xfrm>
            <a:prstGeom prst="rect">
              <a:avLst/>
            </a:prstGeom>
            <a:solidFill>
              <a:srgbClr val="B915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="" xmlns:a16="http://schemas.microsoft.com/office/drawing/2014/main" id="{749BABDC-9464-4A3E-BF45-EBC8B9627330}"/>
                </a:ext>
              </a:extLst>
            </p:cNvPr>
            <p:cNvSpPr/>
            <p:nvPr userDrawn="1"/>
          </p:nvSpPr>
          <p:spPr>
            <a:xfrm>
              <a:off x="7259704" y="4435281"/>
              <a:ext cx="960106" cy="960107"/>
            </a:xfrm>
            <a:prstGeom prst="rect">
              <a:avLst/>
            </a:prstGeom>
            <a:solidFill>
              <a:srgbClr val="6ACC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2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="" xmlns:a16="http://schemas.microsoft.com/office/drawing/2014/main" id="{B30FF824-93C5-4FAA-91D0-5C09F24EE519}"/>
                </a:ext>
              </a:extLst>
            </p:cNvPr>
            <p:cNvSpPr/>
            <p:nvPr userDrawn="1"/>
          </p:nvSpPr>
          <p:spPr>
            <a:xfrm>
              <a:off x="8219810" y="4435281"/>
              <a:ext cx="960107" cy="960107"/>
            </a:xfrm>
            <a:prstGeom prst="rect">
              <a:avLst/>
            </a:prstGeom>
            <a:solidFill>
              <a:srgbClr val="6597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="" xmlns:a16="http://schemas.microsoft.com/office/drawing/2014/main" id="{289F46DB-D319-443D-A23C-391724686A0A}"/>
                </a:ext>
              </a:extLst>
            </p:cNvPr>
            <p:cNvSpPr/>
            <p:nvPr userDrawn="1"/>
          </p:nvSpPr>
          <p:spPr>
            <a:xfrm>
              <a:off x="9179917" y="4435281"/>
              <a:ext cx="960107" cy="960107"/>
            </a:xfrm>
            <a:prstGeom prst="rect">
              <a:avLst/>
            </a:prstGeom>
            <a:solidFill>
              <a:srgbClr val="FFEE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="" xmlns:a16="http://schemas.microsoft.com/office/drawing/2014/main" id="{0CA4C897-3B83-4BE5-94BB-89ACC0A28CED}"/>
                </a:ext>
              </a:extLst>
            </p:cNvPr>
            <p:cNvSpPr/>
            <p:nvPr userDrawn="1"/>
          </p:nvSpPr>
          <p:spPr>
            <a:xfrm>
              <a:off x="10140024" y="4435281"/>
              <a:ext cx="960107" cy="960107"/>
            </a:xfrm>
            <a:prstGeom prst="rect">
              <a:avLst/>
            </a:prstGeom>
            <a:solidFill>
              <a:srgbClr val="B07A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="" xmlns:a16="http://schemas.microsoft.com/office/drawing/2014/main" id="{F1073788-E706-4033-BAA2-5EFD99305210}"/>
                </a:ext>
              </a:extLst>
            </p:cNvPr>
            <p:cNvSpPr/>
            <p:nvPr userDrawn="1"/>
          </p:nvSpPr>
          <p:spPr>
            <a:xfrm>
              <a:off x="7739756" y="4435281"/>
              <a:ext cx="480053" cy="960107"/>
            </a:xfrm>
            <a:prstGeom prst="rect">
              <a:avLst/>
            </a:prstGeom>
            <a:solidFill>
              <a:srgbClr val="3EBB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9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7" name="Текст 8">
            <a:extLst>
              <a:ext uri="{FF2B5EF4-FFF2-40B4-BE49-F238E27FC236}">
                <a16:creationId xmlns="" xmlns:a16="http://schemas.microsoft.com/office/drawing/2014/main" id="{6F284E74-1663-473D-8DED-1DFF775623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888815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userDrawn="1">
  <p:cSld name="Только заголовок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13622A6-483D-4662-AD71-9449A3FAA2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421787"/>
            <a:ext cx="9536112" cy="307777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293AC975-B61A-4112-B584-E4C8B2D089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9904C9-610C-4095-8284-0464F6F0BA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9289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без булле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43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19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EA5E833F-D606-4328-B2C0-3D231EBDF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>
            <a:extLst>
              <a:ext uri="{FF2B5EF4-FFF2-40B4-BE49-F238E27FC236}">
                <a16:creationId xmlns="" xmlns:a16="http://schemas.microsoft.com/office/drawing/2014/main" id="{94698035-8861-4E0F-AADC-D737F5478C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73450598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арточ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2026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9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EA5E833F-D606-4328-B2C0-3D231EBDF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943F0BE3-92C3-4BA1-B022-CA6407CDF6EA}"/>
              </a:ext>
            </a:extLst>
          </p:cNvPr>
          <p:cNvSpPr/>
          <p:nvPr/>
        </p:nvSpPr>
        <p:spPr>
          <a:xfrm>
            <a:off x="4332000" y="1535112"/>
            <a:ext cx="3528000" cy="46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0" rtlCol="0" anchor="t"/>
          <a:lstStyle/>
          <a:p>
            <a:pPr marL="108000" indent="-108000" algn="ctr">
              <a:spcAft>
                <a:spcPts val="1000"/>
              </a:spcAft>
              <a:buClr>
                <a:srgbClr val="1937FF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705891F0-69FD-4A1C-A069-186264E8F8AA}"/>
              </a:ext>
            </a:extLst>
          </p:cNvPr>
          <p:cNvSpPr/>
          <p:nvPr/>
        </p:nvSpPr>
        <p:spPr>
          <a:xfrm>
            <a:off x="8113138" y="1535112"/>
            <a:ext cx="3528000" cy="46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0" rtlCol="0" anchor="t"/>
          <a:lstStyle/>
          <a:p>
            <a:pPr marL="108000" indent="-108000" algn="ctr">
              <a:spcAft>
                <a:spcPts val="1000"/>
              </a:spcAft>
              <a:buClr>
                <a:srgbClr val="1937FF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D981799D-223E-4B3E-A5B8-28CA454D2393}"/>
              </a:ext>
            </a:extLst>
          </p:cNvPr>
          <p:cNvSpPr/>
          <p:nvPr userDrawn="1"/>
        </p:nvSpPr>
        <p:spPr>
          <a:xfrm>
            <a:off x="550863" y="1535112"/>
            <a:ext cx="3528000" cy="46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0" rtlCol="0" anchor="t"/>
          <a:lstStyle/>
          <a:p>
            <a:pPr marL="108000" indent="-108000" algn="ctr">
              <a:spcAft>
                <a:spcPts val="1000"/>
              </a:spcAft>
              <a:buClr>
                <a:srgbClr val="1937FF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95522D7F-7DEC-479A-BA3B-E75A2A5D2405}"/>
              </a:ext>
            </a:extLst>
          </p:cNvPr>
          <p:cNvSpPr/>
          <p:nvPr userDrawn="1"/>
        </p:nvSpPr>
        <p:spPr>
          <a:xfrm>
            <a:off x="550862" y="1535112"/>
            <a:ext cx="3528000" cy="5568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lvl="0"/>
            <a:endParaRPr lang="ru-RU" sz="1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2DED5C47-4339-499E-BAEB-514187B655F7}"/>
              </a:ext>
            </a:extLst>
          </p:cNvPr>
          <p:cNvSpPr/>
          <p:nvPr userDrawn="1"/>
        </p:nvSpPr>
        <p:spPr>
          <a:xfrm>
            <a:off x="4332000" y="1535112"/>
            <a:ext cx="3528000" cy="5568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lvl="0"/>
            <a:endParaRPr lang="ru-RU" sz="1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3CEFEB58-4920-4CE6-B9B5-3D2A0103A4C4}"/>
              </a:ext>
            </a:extLst>
          </p:cNvPr>
          <p:cNvSpPr/>
          <p:nvPr userDrawn="1"/>
        </p:nvSpPr>
        <p:spPr>
          <a:xfrm>
            <a:off x="8113138" y="1535112"/>
            <a:ext cx="3528000" cy="5568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lvl="0"/>
            <a:endParaRPr lang="ru-RU" sz="1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Текст 17">
            <a:extLst>
              <a:ext uri="{FF2B5EF4-FFF2-40B4-BE49-F238E27FC236}">
                <a16:creationId xmlns="" xmlns:a16="http://schemas.microsoft.com/office/drawing/2014/main" id="{4B329F36-1D34-476E-9043-5F38541925D2}"/>
              </a:ext>
            </a:extLst>
          </p:cNvPr>
          <p:cNvSpPr txBox="1">
            <a:spLocks/>
          </p:cNvSpPr>
          <p:nvPr userDrawn="1"/>
        </p:nvSpPr>
        <p:spPr>
          <a:xfrm>
            <a:off x="4515707" y="1716564"/>
            <a:ext cx="65" cy="1938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Текст 17">
            <a:extLst>
              <a:ext uri="{FF2B5EF4-FFF2-40B4-BE49-F238E27FC236}">
                <a16:creationId xmlns="" xmlns:a16="http://schemas.microsoft.com/office/drawing/2014/main" id="{8EECBA10-5398-4479-81BD-3F0132E61548}"/>
              </a:ext>
            </a:extLst>
          </p:cNvPr>
          <p:cNvSpPr txBox="1">
            <a:spLocks/>
          </p:cNvSpPr>
          <p:nvPr userDrawn="1"/>
        </p:nvSpPr>
        <p:spPr>
          <a:xfrm>
            <a:off x="736600" y="1716564"/>
            <a:ext cx="65" cy="1938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Текст 25">
            <a:extLst>
              <a:ext uri="{FF2B5EF4-FFF2-40B4-BE49-F238E27FC236}">
                <a16:creationId xmlns="" xmlns:a16="http://schemas.microsoft.com/office/drawing/2014/main" id="{E96AB2CD-4AE7-4EB1-AB51-E7E1ED59548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736598" y="2356597"/>
            <a:ext cx="3131252" cy="3253628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tx2"/>
              </a:buClr>
              <a:defRPr sz="12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eiusmod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0"/>
            <a:endParaRPr lang="ru-RU" dirty="0"/>
          </a:p>
        </p:txBody>
      </p:sp>
      <p:sp>
        <p:nvSpPr>
          <p:cNvPr id="45" name="Текст 25">
            <a:extLst>
              <a:ext uri="{FF2B5EF4-FFF2-40B4-BE49-F238E27FC236}">
                <a16:creationId xmlns="" xmlns:a16="http://schemas.microsoft.com/office/drawing/2014/main" id="{8437CC08-B4FF-4F20-A163-9347EF1E3DEA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4512874" y="2356597"/>
            <a:ext cx="3131252" cy="3253627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tx2"/>
              </a:buClr>
              <a:defRPr sz="12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eiusmod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0"/>
            <a:endParaRPr lang="ru-RU" dirty="0"/>
          </a:p>
        </p:txBody>
      </p:sp>
      <p:sp>
        <p:nvSpPr>
          <p:cNvPr id="49" name="Текст 25">
            <a:extLst>
              <a:ext uri="{FF2B5EF4-FFF2-40B4-BE49-F238E27FC236}">
                <a16:creationId xmlns="" xmlns:a16="http://schemas.microsoft.com/office/drawing/2014/main" id="{C91376A4-0961-4B75-B986-78FB9C0A538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294815" y="2356597"/>
            <a:ext cx="3131252" cy="3253627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tx2"/>
              </a:buClr>
              <a:defRPr sz="12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eiusmod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  <a:p>
            <a:pPr lvl="0"/>
            <a:endParaRPr lang="ru-RU" dirty="0"/>
          </a:p>
        </p:txBody>
      </p:sp>
      <p:sp>
        <p:nvSpPr>
          <p:cNvPr id="24" name="Текст 23">
            <a:extLst>
              <a:ext uri="{FF2B5EF4-FFF2-40B4-BE49-F238E27FC236}">
                <a16:creationId xmlns="" xmlns:a16="http://schemas.microsoft.com/office/drawing/2014/main" id="{F1907CD7-1207-486A-A74B-E21F50149E3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6598" y="1596532"/>
            <a:ext cx="3131252" cy="433965"/>
          </a:xfrm>
          <a:prstGeom prst="rect">
            <a:avLst/>
          </a:prstGeom>
        </p:spPr>
        <p:txBody>
          <a:bodyPr wrap="square" lIns="0" tIns="0" rIns="0" bIns="36000" anchor="ctr">
            <a:spAutoFit/>
          </a:bodyPr>
          <a:lstStyle>
            <a:lvl1pPr marL="0" indent="0">
              <a:spcBef>
                <a:spcPts val="0"/>
              </a:spcBef>
              <a:buNone/>
              <a:defRPr lang="ru-RU" sz="1400" b="1" kern="1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Тезисы/причины/</a:t>
            </a:r>
            <a:br>
              <a:rPr lang="ru-RU" dirty="0"/>
            </a:br>
            <a:r>
              <a:rPr lang="ru-RU" dirty="0"/>
              <a:t>предпосылки</a:t>
            </a:r>
          </a:p>
        </p:txBody>
      </p:sp>
      <p:sp>
        <p:nvSpPr>
          <p:cNvPr id="41" name="Текст 23">
            <a:extLst>
              <a:ext uri="{FF2B5EF4-FFF2-40B4-BE49-F238E27FC236}">
                <a16:creationId xmlns="" xmlns:a16="http://schemas.microsoft.com/office/drawing/2014/main" id="{39071F6D-ADC0-4CBA-804B-B1B7B253C90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07564" y="1596532"/>
            <a:ext cx="3204800" cy="433965"/>
          </a:xfrm>
          <a:prstGeom prst="rect">
            <a:avLst/>
          </a:prstGeom>
        </p:spPr>
        <p:txBody>
          <a:bodyPr wrap="square" lIns="0" tIns="0" rIns="0" bIns="36000" anchor="ctr">
            <a:spAutoFit/>
          </a:bodyPr>
          <a:lstStyle>
            <a:lvl1pPr marL="0" indent="0">
              <a:spcBef>
                <a:spcPts val="0"/>
              </a:spcBef>
              <a:buNone/>
              <a:defRPr lang="ru-RU" sz="1400" b="1" kern="1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Тезисы/причины/</a:t>
            </a:r>
            <a:br>
              <a:rPr lang="ru-RU" dirty="0"/>
            </a:br>
            <a:r>
              <a:rPr lang="ru-RU" dirty="0"/>
              <a:t>предпосылки</a:t>
            </a:r>
          </a:p>
        </p:txBody>
      </p:sp>
      <p:sp>
        <p:nvSpPr>
          <p:cNvPr id="50" name="Текст 23">
            <a:extLst>
              <a:ext uri="{FF2B5EF4-FFF2-40B4-BE49-F238E27FC236}">
                <a16:creationId xmlns="" xmlns:a16="http://schemas.microsoft.com/office/drawing/2014/main" id="{D095EAF0-D654-4AEC-B401-C60D5504636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94815" y="1596532"/>
            <a:ext cx="3131252" cy="433965"/>
          </a:xfrm>
          <a:prstGeom prst="rect">
            <a:avLst/>
          </a:prstGeom>
        </p:spPr>
        <p:txBody>
          <a:bodyPr wrap="square" lIns="0" tIns="0" rIns="0" bIns="36000" anchor="ctr">
            <a:spAutoFit/>
          </a:bodyPr>
          <a:lstStyle>
            <a:lvl1pPr marL="0" indent="0">
              <a:spcBef>
                <a:spcPts val="0"/>
              </a:spcBef>
              <a:buNone/>
              <a:defRPr lang="ru-RU" sz="1400" b="1" kern="1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Тезисы/причины/</a:t>
            </a:r>
            <a:br>
              <a:rPr lang="ru-RU" dirty="0"/>
            </a:br>
            <a:r>
              <a:rPr lang="ru-RU" dirty="0"/>
              <a:t>предпосылки</a:t>
            </a:r>
          </a:p>
        </p:txBody>
      </p:sp>
      <p:sp>
        <p:nvSpPr>
          <p:cNvPr id="52" name="Текст 8">
            <a:extLst>
              <a:ext uri="{FF2B5EF4-FFF2-40B4-BE49-F238E27FC236}">
                <a16:creationId xmlns="" xmlns:a16="http://schemas.microsoft.com/office/drawing/2014/main" id="{C01535C2-66A7-4C27-86D0-AB91D7207D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92024334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-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401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39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EA5E833F-D606-4328-B2C0-3D231EBDF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21">
            <a:extLst>
              <a:ext uri="{FF2B5EF4-FFF2-40B4-BE49-F238E27FC236}">
                <a16:creationId xmlns="" xmlns:a16="http://schemas.microsoft.com/office/drawing/2014/main" id="{1617CC82-9028-4A27-8307-B3E61CC1B44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864" y="1107281"/>
            <a:ext cx="11090274" cy="49125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925E2"/>
              </a:buClr>
              <a:buFont typeface="+mj-lt"/>
              <a:buAutoNum type="arabicPeriod"/>
              <a:defRPr lang="ru-RU"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marL="180000" lvl="0" indent="-180000">
              <a:spcAft>
                <a:spcPts val="1600"/>
              </a:spcAft>
              <a:buClr>
                <a:srgbClr val="0925E2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Lorem ipsum dolor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consecte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dipiscing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. Proin </a:t>
            </a:r>
            <a:r>
              <a:rPr lang="en-US" sz="1200" dirty="0" err="1">
                <a:solidFill>
                  <a:srgbClr val="000000"/>
                </a:solidFill>
              </a:rPr>
              <a:t>preti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is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urus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uscipi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e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get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Praesent</a:t>
            </a:r>
            <a:r>
              <a:rPr lang="en-US" sz="1200" dirty="0">
                <a:solidFill>
                  <a:srgbClr val="000000"/>
                </a:solidFill>
              </a:rPr>
              <a:t> vel </a:t>
            </a:r>
            <a:r>
              <a:rPr lang="en-US" sz="1200" dirty="0" err="1">
                <a:solidFill>
                  <a:srgbClr val="000000"/>
                </a:solidFill>
              </a:rPr>
              <a:t>urn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urpis</a:t>
            </a:r>
            <a:r>
              <a:rPr lang="en-US" sz="1200" dirty="0">
                <a:solidFill>
                  <a:srgbClr val="000000"/>
                </a:solidFill>
              </a:rPr>
              <a:t>. Vestibulum ante ipsum </a:t>
            </a:r>
            <a:r>
              <a:rPr lang="en-US" sz="1200" dirty="0" err="1">
                <a:solidFill>
                  <a:srgbClr val="000000"/>
                </a:solidFill>
              </a:rPr>
              <a:t>primis</a:t>
            </a:r>
            <a:r>
              <a:rPr lang="en-US" sz="1200" dirty="0">
                <a:solidFill>
                  <a:srgbClr val="000000"/>
                </a:solidFill>
              </a:rPr>
              <a:t> in </a:t>
            </a:r>
            <a:r>
              <a:rPr lang="en-US" sz="1200" dirty="0" err="1">
                <a:solidFill>
                  <a:srgbClr val="000000"/>
                </a:solidFill>
              </a:rPr>
              <a:t>faucib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rci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uctus</a:t>
            </a:r>
            <a:r>
              <a:rPr lang="en-US" sz="1200" dirty="0">
                <a:solidFill>
                  <a:srgbClr val="000000"/>
                </a:solidFill>
              </a:rPr>
              <a:t> et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osuer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bili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rae</a:t>
            </a:r>
            <a:r>
              <a:rPr lang="en-US" sz="1200" dirty="0">
                <a:solidFill>
                  <a:srgbClr val="000000"/>
                </a:solidFill>
              </a:rPr>
              <a:t>; </a:t>
            </a:r>
            <a:r>
              <a:rPr lang="en-US" sz="1200" dirty="0" err="1">
                <a:solidFill>
                  <a:srgbClr val="000000"/>
                </a:solidFill>
              </a:rPr>
              <a:t>Orci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vari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atoqu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enatibus</a:t>
            </a:r>
            <a:r>
              <a:rPr lang="en-US" sz="1200" dirty="0">
                <a:solidFill>
                  <a:srgbClr val="000000"/>
                </a:solidFill>
              </a:rPr>
              <a:t> et </a:t>
            </a:r>
            <a:r>
              <a:rPr lang="en-US" sz="1200" dirty="0" err="1">
                <a:solidFill>
                  <a:srgbClr val="000000"/>
                </a:solidFill>
              </a:rPr>
              <a:t>magnis</a:t>
            </a:r>
            <a:r>
              <a:rPr lang="en-US" sz="1200" dirty="0">
                <a:solidFill>
                  <a:srgbClr val="000000"/>
                </a:solidFill>
              </a:rPr>
              <a:t> dis parturient </a:t>
            </a:r>
            <a:r>
              <a:rPr lang="en-US" sz="1200" dirty="0" err="1">
                <a:solidFill>
                  <a:srgbClr val="000000"/>
                </a:solidFill>
              </a:rPr>
              <a:t>montes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nasce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idiculus</a:t>
            </a:r>
            <a:r>
              <a:rPr lang="en-US" sz="1200" dirty="0">
                <a:solidFill>
                  <a:srgbClr val="000000"/>
                </a:solidFill>
              </a:rPr>
              <a:t> mus. </a:t>
            </a:r>
            <a:r>
              <a:rPr lang="en-US" sz="1200" dirty="0" err="1">
                <a:solidFill>
                  <a:srgbClr val="000000"/>
                </a:solidFill>
              </a:rPr>
              <a:t>Nullam</a:t>
            </a:r>
            <a:r>
              <a:rPr lang="en-US" sz="1200" dirty="0">
                <a:solidFill>
                  <a:srgbClr val="000000"/>
                </a:solidFill>
              </a:rPr>
              <a:t> vel </a:t>
            </a:r>
            <a:r>
              <a:rPr lang="en-US" sz="1200" dirty="0" err="1">
                <a:solidFill>
                  <a:srgbClr val="000000"/>
                </a:solidFill>
              </a:rPr>
              <a:t>ero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urus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Praese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ge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ur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etus</a:t>
            </a:r>
            <a:r>
              <a:rPr lang="en-US" sz="1200" dirty="0">
                <a:solidFill>
                  <a:srgbClr val="000000"/>
                </a:solidFill>
              </a:rPr>
              <a:t>. Vestibulum </a:t>
            </a:r>
            <a:r>
              <a:rPr lang="en-US" sz="1200" dirty="0" err="1">
                <a:solidFill>
                  <a:srgbClr val="000000"/>
                </a:solidFill>
              </a:rPr>
              <a:t>faucib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blandi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Maur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unc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ortor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viverra</a:t>
            </a:r>
            <a:r>
              <a:rPr lang="en-US" sz="1200" dirty="0">
                <a:solidFill>
                  <a:srgbClr val="000000"/>
                </a:solidFill>
              </a:rPr>
              <a:t> a </a:t>
            </a:r>
            <a:r>
              <a:rPr lang="en-US" sz="1200" dirty="0" err="1">
                <a:solidFill>
                  <a:srgbClr val="000000"/>
                </a:solidFill>
              </a:rPr>
              <a:t>nunc</a:t>
            </a:r>
            <a:r>
              <a:rPr lang="en-US" sz="1200" dirty="0">
                <a:solidFill>
                  <a:srgbClr val="000000"/>
                </a:solidFill>
              </a:rPr>
              <a:t> vitae, </a:t>
            </a: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eo</a:t>
            </a:r>
            <a:r>
              <a:rPr lang="en-US" sz="1200" dirty="0">
                <a:solidFill>
                  <a:srgbClr val="000000"/>
                </a:solidFill>
              </a:rPr>
              <a:t>. Aenean </a:t>
            </a:r>
            <a:r>
              <a:rPr lang="en-US" sz="1200" dirty="0" err="1">
                <a:solidFill>
                  <a:srgbClr val="000000"/>
                </a:solidFill>
              </a:rPr>
              <a:t>accumsan</a:t>
            </a:r>
            <a:r>
              <a:rPr lang="en-US" sz="1200" dirty="0">
                <a:solidFill>
                  <a:srgbClr val="000000"/>
                </a:solidFill>
              </a:rPr>
              <a:t> et ante </a:t>
            </a:r>
            <a:r>
              <a:rPr lang="en-US" sz="1200" dirty="0" err="1">
                <a:solidFill>
                  <a:srgbClr val="000000"/>
                </a:solidFill>
              </a:rPr>
              <a:t>eu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venenatis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180000" lvl="0" indent="-180000">
              <a:spcAft>
                <a:spcPts val="1600"/>
              </a:spcAft>
              <a:buClr>
                <a:srgbClr val="0925E2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Morbi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rcu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apien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lesuad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osuere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Pellentesque</a:t>
            </a:r>
            <a:r>
              <a:rPr lang="en-US" sz="1200" dirty="0">
                <a:solidFill>
                  <a:srgbClr val="000000"/>
                </a:solidFill>
              </a:rPr>
              <a:t> ex </a:t>
            </a:r>
            <a:r>
              <a:rPr lang="en-US" sz="1200" dirty="0" err="1">
                <a:solidFill>
                  <a:srgbClr val="000000"/>
                </a:solidFill>
              </a:rPr>
              <a:t>quam</a:t>
            </a:r>
            <a:r>
              <a:rPr lang="en-US" sz="1200" dirty="0">
                <a:solidFill>
                  <a:srgbClr val="000000"/>
                </a:solidFill>
              </a:rPr>
              <a:t>, vestibulum vel </a:t>
            </a:r>
            <a:r>
              <a:rPr lang="en-US" sz="1200" dirty="0" err="1">
                <a:solidFill>
                  <a:srgbClr val="000000"/>
                </a:solidFill>
              </a:rPr>
              <a:t>congue</a:t>
            </a:r>
            <a:r>
              <a:rPr lang="en-US" sz="1200" dirty="0">
                <a:solidFill>
                  <a:srgbClr val="000000"/>
                </a:solidFill>
              </a:rPr>
              <a:t> vitae,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sapien</a:t>
            </a:r>
            <a:r>
              <a:rPr lang="en-US" sz="1200" dirty="0">
                <a:solidFill>
                  <a:srgbClr val="000000"/>
                </a:solidFill>
              </a:rPr>
              <a:t>. Donec in ante </a:t>
            </a:r>
            <a:r>
              <a:rPr lang="en-US" sz="1200" dirty="0" err="1">
                <a:solidFill>
                  <a:srgbClr val="000000"/>
                </a:solidFill>
              </a:rPr>
              <a:t>mauris</a:t>
            </a:r>
            <a:r>
              <a:rPr lang="en-US" sz="1200" dirty="0">
                <a:solidFill>
                  <a:srgbClr val="000000"/>
                </a:solidFill>
              </a:rPr>
              <a:t>. Nam </a:t>
            </a:r>
            <a:r>
              <a:rPr lang="en-US" sz="1200" dirty="0" err="1">
                <a:solidFill>
                  <a:srgbClr val="000000"/>
                </a:solidFill>
              </a:rPr>
              <a:t>iaculis</a:t>
            </a:r>
            <a:r>
              <a:rPr lang="en-US" sz="1200" dirty="0">
                <a:solidFill>
                  <a:srgbClr val="000000"/>
                </a:solidFill>
              </a:rPr>
              <a:t> magna ante, a </a:t>
            </a:r>
            <a:r>
              <a:rPr lang="en-US" sz="1200" dirty="0" err="1">
                <a:solidFill>
                  <a:srgbClr val="000000"/>
                </a:solidFill>
              </a:rPr>
              <a:t>faucibus</a:t>
            </a:r>
            <a:r>
              <a:rPr lang="en-US" sz="1200" dirty="0">
                <a:solidFill>
                  <a:srgbClr val="000000"/>
                </a:solidFill>
              </a:rPr>
              <a:t> libero convallis at. Nam </a:t>
            </a:r>
            <a:r>
              <a:rPr lang="en-US" sz="1200" dirty="0" err="1">
                <a:solidFill>
                  <a:srgbClr val="000000"/>
                </a:solidFill>
              </a:rPr>
              <a:t>se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elis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finibus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velit</a:t>
            </a:r>
            <a:r>
              <a:rPr lang="en-US" sz="1200" dirty="0">
                <a:solidFill>
                  <a:srgbClr val="000000"/>
                </a:solidFill>
              </a:rPr>
              <a:t> sed, </a:t>
            </a:r>
            <a:r>
              <a:rPr lang="en-US" sz="1200" dirty="0" err="1">
                <a:solidFill>
                  <a:srgbClr val="000000"/>
                </a:solidFill>
              </a:rPr>
              <a:t>iacul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hendreri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rcu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ti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dio</a:t>
            </a:r>
            <a:r>
              <a:rPr lang="en-US" sz="1200" dirty="0">
                <a:solidFill>
                  <a:srgbClr val="000000"/>
                </a:solidFill>
              </a:rPr>
              <a:t> dui, cursus sed </a:t>
            </a:r>
            <a:r>
              <a:rPr lang="en-US" sz="1200" dirty="0" err="1">
                <a:solidFill>
                  <a:srgbClr val="000000"/>
                </a:solidFill>
              </a:rPr>
              <a:t>sollicitudin</a:t>
            </a:r>
            <a:r>
              <a:rPr lang="en-US" sz="1200" dirty="0">
                <a:solidFill>
                  <a:srgbClr val="000000"/>
                </a:solidFill>
              </a:rPr>
              <a:t> sed, </a:t>
            </a:r>
            <a:r>
              <a:rPr lang="en-US" sz="1200" dirty="0" err="1">
                <a:solidFill>
                  <a:srgbClr val="000000"/>
                </a:solidFill>
              </a:rPr>
              <a:t>luctus</a:t>
            </a:r>
            <a:r>
              <a:rPr lang="en-US" sz="1200" dirty="0">
                <a:solidFill>
                  <a:srgbClr val="000000"/>
                </a:solidFill>
              </a:rPr>
              <a:t> a </a:t>
            </a:r>
            <a:r>
              <a:rPr lang="en-US" sz="1200" dirty="0" err="1">
                <a:solidFill>
                  <a:srgbClr val="000000"/>
                </a:solidFill>
              </a:rPr>
              <a:t>neque</a:t>
            </a:r>
            <a:r>
              <a:rPr lang="en-US" sz="1200" dirty="0">
                <a:solidFill>
                  <a:srgbClr val="000000"/>
                </a:solidFill>
              </a:rPr>
              <a:t>. Morbi </a:t>
            </a:r>
            <a:r>
              <a:rPr lang="en-US" sz="1200" dirty="0" err="1">
                <a:solidFill>
                  <a:srgbClr val="000000"/>
                </a:solidFill>
              </a:rPr>
              <a:t>nibh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elis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viverr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aucibus</a:t>
            </a:r>
            <a:r>
              <a:rPr lang="en-US" sz="1200" dirty="0">
                <a:solidFill>
                  <a:srgbClr val="000000"/>
                </a:solidFill>
              </a:rPr>
              <a:t> pulvinar vitae, vestibulum at </a:t>
            </a:r>
            <a:r>
              <a:rPr lang="en-US" sz="1200" dirty="0" err="1">
                <a:solidFill>
                  <a:srgbClr val="000000"/>
                </a:solidFill>
              </a:rPr>
              <a:t>neque</a:t>
            </a:r>
            <a:r>
              <a:rPr lang="en-US" sz="1200" dirty="0">
                <a:solidFill>
                  <a:srgbClr val="000000"/>
                </a:solidFill>
              </a:rPr>
              <a:t>. Integer </a:t>
            </a:r>
            <a:r>
              <a:rPr lang="en-US" sz="1200" dirty="0" err="1">
                <a:solidFill>
                  <a:srgbClr val="000000"/>
                </a:solidFill>
              </a:rPr>
              <a:t>porttitor</a:t>
            </a:r>
            <a:r>
              <a:rPr lang="en-US" sz="1200" dirty="0">
                <a:solidFill>
                  <a:srgbClr val="000000"/>
                </a:solidFill>
              </a:rPr>
              <a:t> fermentum </a:t>
            </a:r>
            <a:r>
              <a:rPr lang="en-US" sz="1200" dirty="0" err="1">
                <a:solidFill>
                  <a:srgbClr val="000000"/>
                </a:solidFill>
              </a:rPr>
              <a:t>odi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dapib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ristique</a:t>
            </a:r>
            <a:r>
              <a:rPr lang="en-US" sz="1200" dirty="0">
                <a:solidFill>
                  <a:srgbClr val="000000"/>
                </a:solidFill>
              </a:rPr>
              <a:t>. Proin sed nisi sed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tt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bibend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ristique</a:t>
            </a:r>
            <a:r>
              <a:rPr lang="en-US" sz="1200" dirty="0">
                <a:solidFill>
                  <a:srgbClr val="000000"/>
                </a:solidFill>
              </a:rPr>
              <a:t> a </a:t>
            </a:r>
            <a:r>
              <a:rPr lang="en-US" sz="1200" dirty="0" err="1">
                <a:solidFill>
                  <a:srgbClr val="000000"/>
                </a:solidFill>
              </a:rPr>
              <a:t>quam</a:t>
            </a:r>
            <a:r>
              <a:rPr lang="en-US" sz="1200" dirty="0">
                <a:solidFill>
                  <a:srgbClr val="000000"/>
                </a:solidFill>
              </a:rPr>
              <a:t>. Maecenas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utrum</a:t>
            </a:r>
            <a:r>
              <a:rPr lang="en-US" sz="1200" dirty="0">
                <a:solidFill>
                  <a:srgbClr val="000000"/>
                </a:solidFill>
              </a:rPr>
              <a:t> est. Vestibulum </a:t>
            </a:r>
            <a:r>
              <a:rPr lang="en-US" sz="1200" dirty="0" err="1">
                <a:solidFill>
                  <a:srgbClr val="000000"/>
                </a:solidFill>
              </a:rPr>
              <a:t>commodo</a:t>
            </a:r>
            <a:r>
              <a:rPr lang="en-US" sz="1200" dirty="0">
                <a:solidFill>
                  <a:srgbClr val="000000"/>
                </a:solidFill>
              </a:rPr>
              <a:t> sed </a:t>
            </a:r>
            <a:r>
              <a:rPr lang="en-US" sz="1200" dirty="0" err="1">
                <a:solidFill>
                  <a:srgbClr val="000000"/>
                </a:solidFill>
              </a:rPr>
              <a:t>met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ge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orttitor</a:t>
            </a:r>
            <a:r>
              <a:rPr lang="en-US" sz="1200" dirty="0">
                <a:solidFill>
                  <a:srgbClr val="000000"/>
                </a:solidFill>
              </a:rPr>
              <a:t>. Proin et ipsum </a:t>
            </a:r>
            <a:r>
              <a:rPr lang="en-US" sz="1200" dirty="0" err="1">
                <a:solidFill>
                  <a:srgbClr val="000000"/>
                </a:solidFill>
              </a:rPr>
              <a:t>accumsan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ornare</a:t>
            </a:r>
            <a:r>
              <a:rPr lang="en-US" sz="1200" dirty="0">
                <a:solidFill>
                  <a:srgbClr val="000000"/>
                </a:solidFill>
              </a:rPr>
              <a:t> ante in, </a:t>
            </a:r>
            <a:r>
              <a:rPr lang="en-US" sz="1200" dirty="0" err="1">
                <a:solidFill>
                  <a:srgbClr val="000000"/>
                </a:solidFill>
              </a:rPr>
              <a:t>lobortis</a:t>
            </a:r>
            <a:r>
              <a:rPr lang="en-US" sz="1200" dirty="0">
                <a:solidFill>
                  <a:srgbClr val="000000"/>
                </a:solidFill>
              </a:rPr>
              <a:t> libero. Integer semper lacinia </a:t>
            </a:r>
            <a:r>
              <a:rPr lang="en-US" sz="1200" dirty="0" err="1">
                <a:solidFill>
                  <a:srgbClr val="000000"/>
                </a:solidFill>
              </a:rPr>
              <a:t>justo</a:t>
            </a:r>
            <a:r>
              <a:rPr lang="en-US" sz="1200" dirty="0">
                <a:solidFill>
                  <a:srgbClr val="000000"/>
                </a:solidFill>
              </a:rPr>
              <a:t> at </a:t>
            </a:r>
            <a:r>
              <a:rPr lang="en-US" sz="1200" dirty="0" err="1">
                <a:solidFill>
                  <a:srgbClr val="000000"/>
                </a:solidFill>
              </a:rPr>
              <a:t>pretium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180000" lvl="0" indent="-180000">
              <a:spcAft>
                <a:spcPts val="1600"/>
              </a:spcAft>
              <a:buClr>
                <a:srgbClr val="0925E2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Nam </a:t>
            </a:r>
            <a:r>
              <a:rPr lang="en-US" sz="1200" dirty="0" err="1">
                <a:solidFill>
                  <a:srgbClr val="000000"/>
                </a:solidFill>
              </a:rPr>
              <a:t>interd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incidu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ra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ege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gestas</a:t>
            </a:r>
            <a:r>
              <a:rPr lang="en-US" sz="1200" dirty="0">
                <a:solidFill>
                  <a:srgbClr val="000000"/>
                </a:solidFill>
              </a:rPr>
              <a:t> dolor dictum </a:t>
            </a:r>
            <a:r>
              <a:rPr lang="en-US" sz="1200" dirty="0" err="1">
                <a:solidFill>
                  <a:srgbClr val="000000"/>
                </a:solidFill>
              </a:rPr>
              <a:t>ut.</a:t>
            </a:r>
            <a:r>
              <a:rPr lang="en-US" sz="1200" dirty="0">
                <a:solidFill>
                  <a:srgbClr val="000000"/>
                </a:solidFill>
              </a:rPr>
              <a:t> Proin </a:t>
            </a:r>
            <a:r>
              <a:rPr lang="en-US" sz="1200" dirty="0" err="1">
                <a:solidFill>
                  <a:srgbClr val="000000"/>
                </a:solidFill>
              </a:rPr>
              <a:t>moll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ltricie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eque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nec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ltricies</a:t>
            </a:r>
            <a:r>
              <a:rPr lang="en-US" sz="1200" dirty="0">
                <a:solidFill>
                  <a:srgbClr val="000000"/>
                </a:solidFill>
              </a:rPr>
              <a:t> magna. </a:t>
            </a: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 ac gravida </a:t>
            </a:r>
            <a:r>
              <a:rPr lang="en-US" sz="1200" dirty="0" err="1">
                <a:solidFill>
                  <a:srgbClr val="000000"/>
                </a:solidFill>
              </a:rPr>
              <a:t>justo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utr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r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ugu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utr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odales</a:t>
            </a:r>
            <a:r>
              <a:rPr lang="en-US" sz="1200" dirty="0">
                <a:solidFill>
                  <a:srgbClr val="000000"/>
                </a:solidFill>
              </a:rPr>
              <a:t>. Morbi </a:t>
            </a:r>
            <a:r>
              <a:rPr lang="en-US" sz="1200" dirty="0" err="1">
                <a:solidFill>
                  <a:srgbClr val="000000"/>
                </a:solidFill>
              </a:rPr>
              <a:t>hendreri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ement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nsectetur</a:t>
            </a:r>
            <a:r>
              <a:rPr lang="en-US" sz="1200" dirty="0">
                <a:solidFill>
                  <a:srgbClr val="000000"/>
                </a:solidFill>
              </a:rPr>
              <a:t>. Maecenas libero </a:t>
            </a:r>
            <a:r>
              <a:rPr lang="en-US" sz="1200" dirty="0" err="1">
                <a:solidFill>
                  <a:srgbClr val="000000"/>
                </a:solidFill>
              </a:rPr>
              <a:t>enim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dignissi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 dictum id, </a:t>
            </a:r>
            <a:r>
              <a:rPr lang="en-US" sz="1200" dirty="0" err="1">
                <a:solidFill>
                  <a:srgbClr val="000000"/>
                </a:solidFill>
              </a:rPr>
              <a:t>tempo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lacer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eque</a:t>
            </a:r>
            <a:r>
              <a:rPr lang="en-US" sz="1200" dirty="0">
                <a:solidFill>
                  <a:srgbClr val="000000"/>
                </a:solidFill>
              </a:rPr>
              <a:t>. Aenean </a:t>
            </a:r>
            <a:r>
              <a:rPr lang="en-US" sz="1200" dirty="0" err="1">
                <a:solidFill>
                  <a:srgbClr val="000000"/>
                </a:solidFill>
              </a:rPr>
              <a:t>element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lesuad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acus</a:t>
            </a:r>
            <a:r>
              <a:rPr lang="en-US" sz="1200" dirty="0">
                <a:solidFill>
                  <a:srgbClr val="000000"/>
                </a:solidFill>
              </a:rPr>
              <a:t>, sed </a:t>
            </a:r>
            <a:r>
              <a:rPr lang="en-US" sz="1200" dirty="0" err="1">
                <a:solidFill>
                  <a:srgbClr val="000000"/>
                </a:solidFill>
              </a:rPr>
              <a:t>ullamcorpe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lesuad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. Nam </a:t>
            </a:r>
            <a:r>
              <a:rPr lang="en-US" sz="1200" dirty="0" err="1">
                <a:solidFill>
                  <a:srgbClr val="000000"/>
                </a:solidFill>
              </a:rPr>
              <a:t>egesta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ur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ec</a:t>
            </a:r>
            <a:r>
              <a:rPr lang="en-US" sz="1200" dirty="0">
                <a:solidFill>
                  <a:srgbClr val="000000"/>
                </a:solidFill>
              </a:rPr>
              <a:t> pharetra. </a:t>
            </a: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honc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dapib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et</a:t>
            </a:r>
            <a:r>
              <a:rPr lang="en-US" sz="1200" dirty="0">
                <a:solidFill>
                  <a:srgbClr val="000000"/>
                </a:solidFill>
              </a:rPr>
              <a:t>. Vestibulum ante ipsum </a:t>
            </a:r>
            <a:r>
              <a:rPr lang="en-US" sz="1200" dirty="0" err="1">
                <a:solidFill>
                  <a:srgbClr val="000000"/>
                </a:solidFill>
              </a:rPr>
              <a:t>primis</a:t>
            </a:r>
            <a:r>
              <a:rPr lang="en-US" sz="1200" dirty="0">
                <a:solidFill>
                  <a:srgbClr val="000000"/>
                </a:solidFill>
              </a:rPr>
              <a:t> in </a:t>
            </a:r>
            <a:r>
              <a:rPr lang="en-US" sz="1200" dirty="0" err="1">
                <a:solidFill>
                  <a:srgbClr val="000000"/>
                </a:solidFill>
              </a:rPr>
              <a:t>faucib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rci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uctus</a:t>
            </a:r>
            <a:r>
              <a:rPr lang="en-US" sz="1200" dirty="0">
                <a:solidFill>
                  <a:srgbClr val="000000"/>
                </a:solidFill>
              </a:rPr>
              <a:t> et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osuer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bili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urae</a:t>
            </a:r>
            <a:r>
              <a:rPr lang="en-US" sz="1200" dirty="0">
                <a:solidFill>
                  <a:srgbClr val="000000"/>
                </a:solidFill>
              </a:rPr>
              <a:t>; Aenean </a:t>
            </a:r>
            <a:r>
              <a:rPr lang="en-US" sz="1200" dirty="0" err="1">
                <a:solidFill>
                  <a:srgbClr val="000000"/>
                </a:solidFill>
              </a:rPr>
              <a:t>effici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lacer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ssa</a:t>
            </a:r>
            <a:r>
              <a:rPr lang="en-US" sz="1200" dirty="0">
                <a:solidFill>
                  <a:srgbClr val="000000"/>
                </a:solidFill>
              </a:rPr>
              <a:t>. Donec pulvinar fermentum ex </a:t>
            </a:r>
            <a:r>
              <a:rPr lang="en-US" sz="1200" dirty="0" err="1">
                <a:solidFill>
                  <a:srgbClr val="000000"/>
                </a:solidFill>
              </a:rPr>
              <a:t>eu</a:t>
            </a:r>
            <a:r>
              <a:rPr lang="en-US" sz="1200" dirty="0">
                <a:solidFill>
                  <a:srgbClr val="000000"/>
                </a:solidFill>
              </a:rPr>
              <a:t> gravida.</a:t>
            </a:r>
          </a:p>
          <a:p>
            <a:pPr marL="180000" lvl="0" indent="-180000">
              <a:spcAft>
                <a:spcPts val="1600"/>
              </a:spcAft>
              <a:buClr>
                <a:srgbClr val="0925E2"/>
              </a:buClr>
              <a:defRPr/>
            </a:pPr>
            <a:r>
              <a:rPr lang="en-US" sz="1200" dirty="0" err="1">
                <a:solidFill>
                  <a:srgbClr val="000000"/>
                </a:solidFill>
              </a:rPr>
              <a:t>Fusce</a:t>
            </a:r>
            <a:r>
              <a:rPr lang="en-US" sz="1200" dirty="0">
                <a:solidFill>
                  <a:srgbClr val="000000"/>
                </a:solidFill>
              </a:rPr>
              <a:t> porta </a:t>
            </a:r>
            <a:r>
              <a:rPr lang="en-US" sz="1200" dirty="0" err="1">
                <a:solidFill>
                  <a:srgbClr val="000000"/>
                </a:solidFill>
              </a:rPr>
              <a:t>facilis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rat</a:t>
            </a:r>
            <a:r>
              <a:rPr lang="en-US" sz="1200" dirty="0">
                <a:solidFill>
                  <a:srgbClr val="000000"/>
                </a:solidFill>
              </a:rPr>
              <a:t>, id </a:t>
            </a:r>
            <a:r>
              <a:rPr lang="en-US" sz="1200" dirty="0" err="1">
                <a:solidFill>
                  <a:srgbClr val="000000"/>
                </a:solidFill>
              </a:rPr>
              <a:t>moll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lacer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is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Nullam</a:t>
            </a:r>
            <a:r>
              <a:rPr lang="en-US" sz="1200" dirty="0">
                <a:solidFill>
                  <a:srgbClr val="000000"/>
                </a:solidFill>
              </a:rPr>
              <a:t> auctor ligula ac </a:t>
            </a:r>
            <a:r>
              <a:rPr lang="en-US" sz="1200" dirty="0" err="1">
                <a:solidFill>
                  <a:srgbClr val="000000"/>
                </a:solidFill>
              </a:rPr>
              <a:t>arcu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acilis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incidunt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Quisqu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ec</a:t>
            </a:r>
            <a:r>
              <a:rPr lang="en-US" sz="1200" dirty="0">
                <a:solidFill>
                  <a:srgbClr val="000000"/>
                </a:solidFill>
              </a:rPr>
              <a:t> ex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ti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ndimentum</a:t>
            </a:r>
            <a:r>
              <a:rPr lang="en-US" sz="1200" dirty="0">
                <a:solidFill>
                  <a:srgbClr val="000000"/>
                </a:solidFill>
              </a:rPr>
              <a:t> sed diam in </a:t>
            </a:r>
            <a:r>
              <a:rPr lang="en-US" sz="1200" dirty="0" err="1">
                <a:solidFill>
                  <a:srgbClr val="000000"/>
                </a:solidFill>
              </a:rPr>
              <a:t>suscipit</a:t>
            </a:r>
            <a:r>
              <a:rPr lang="en-US" sz="1200" dirty="0">
                <a:solidFill>
                  <a:srgbClr val="000000"/>
                </a:solidFill>
              </a:rPr>
              <a:t>. Maecenas </a:t>
            </a:r>
            <a:r>
              <a:rPr lang="en-US" sz="1200" dirty="0" err="1">
                <a:solidFill>
                  <a:srgbClr val="000000"/>
                </a:solidFill>
              </a:rPr>
              <a:t>lobort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urpis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sagitt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gestas</a:t>
            </a:r>
            <a:r>
              <a:rPr lang="en-US" sz="1200" dirty="0">
                <a:solidFill>
                  <a:srgbClr val="000000"/>
                </a:solidFill>
              </a:rPr>
              <a:t>. Vestibulum </a:t>
            </a:r>
            <a:r>
              <a:rPr lang="en-US" sz="1200" dirty="0" err="1">
                <a:solidFill>
                  <a:srgbClr val="000000"/>
                </a:solidFill>
              </a:rPr>
              <a:t>facilisis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er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t</a:t>
            </a:r>
            <a:r>
              <a:rPr lang="en-US" sz="1200" dirty="0">
                <a:solidFill>
                  <a:srgbClr val="000000"/>
                </a:solidFill>
              </a:rPr>
              <a:t> porta </a:t>
            </a:r>
            <a:r>
              <a:rPr lang="en-US" sz="1200" dirty="0" err="1">
                <a:solidFill>
                  <a:srgbClr val="000000"/>
                </a:solidFill>
              </a:rPr>
              <a:t>ornare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er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rn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utr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urpis</a:t>
            </a:r>
            <a:r>
              <a:rPr lang="en-US" sz="1200" dirty="0">
                <a:solidFill>
                  <a:srgbClr val="000000"/>
                </a:solidFill>
              </a:rPr>
              <a:t>, vitae fermentum </a:t>
            </a:r>
            <a:r>
              <a:rPr lang="en-US" sz="1200" dirty="0" err="1">
                <a:solidFill>
                  <a:srgbClr val="000000"/>
                </a:solidFill>
              </a:rPr>
              <a:t>met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urna</a:t>
            </a:r>
            <a:r>
              <a:rPr lang="en-US" sz="1200" dirty="0">
                <a:solidFill>
                  <a:srgbClr val="000000"/>
                </a:solidFill>
              </a:rPr>
              <a:t> ac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Maur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gesta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eo</a:t>
            </a:r>
            <a:r>
              <a:rPr lang="en-US" sz="1200" dirty="0">
                <a:solidFill>
                  <a:srgbClr val="000000"/>
                </a:solidFill>
              </a:rPr>
              <a:t>, id </a:t>
            </a:r>
            <a:r>
              <a:rPr lang="en-US" sz="1200" dirty="0" err="1">
                <a:solidFill>
                  <a:srgbClr val="000000"/>
                </a:solidFill>
              </a:rPr>
              <a:t>consequat</a:t>
            </a:r>
            <a:r>
              <a:rPr lang="en-US" sz="1200" dirty="0">
                <a:solidFill>
                  <a:srgbClr val="000000"/>
                </a:solidFill>
              </a:rPr>
              <a:t> ligula </a:t>
            </a:r>
            <a:r>
              <a:rPr lang="en-US" sz="1200" dirty="0" err="1">
                <a:solidFill>
                  <a:srgbClr val="000000"/>
                </a:solidFill>
              </a:rPr>
              <a:t>placerat</a:t>
            </a:r>
            <a:r>
              <a:rPr lang="en-US" sz="1200" dirty="0">
                <a:solidFill>
                  <a:srgbClr val="000000"/>
                </a:solidFill>
              </a:rPr>
              <a:t> vel. Donec </a:t>
            </a:r>
            <a:r>
              <a:rPr lang="en-US" sz="1200" dirty="0" err="1">
                <a:solidFill>
                  <a:srgbClr val="000000"/>
                </a:solidFill>
              </a:rPr>
              <a:t>facilis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ec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ellus</a:t>
            </a:r>
            <a:r>
              <a:rPr lang="en-US" sz="1200" dirty="0">
                <a:solidFill>
                  <a:srgbClr val="000000"/>
                </a:solidFill>
              </a:rPr>
              <a:t> vitae </a:t>
            </a:r>
            <a:r>
              <a:rPr lang="en-US" sz="1200" dirty="0" err="1">
                <a:solidFill>
                  <a:srgbClr val="000000"/>
                </a:solidFill>
              </a:rPr>
              <a:t>mollis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tiam</a:t>
            </a:r>
            <a:r>
              <a:rPr lang="en-US" sz="1200" dirty="0">
                <a:solidFill>
                  <a:srgbClr val="000000"/>
                </a:solidFill>
              </a:rPr>
              <a:t> in </a:t>
            </a:r>
            <a:r>
              <a:rPr lang="en-US" sz="1200" dirty="0" err="1">
                <a:solidFill>
                  <a:srgbClr val="000000"/>
                </a:solidFill>
              </a:rPr>
              <a:t>tellu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retium</a:t>
            </a:r>
            <a:r>
              <a:rPr lang="en-US" sz="1200" dirty="0">
                <a:solidFill>
                  <a:srgbClr val="000000"/>
                </a:solidFill>
              </a:rPr>
              <a:t> ligula cursus </a:t>
            </a:r>
            <a:r>
              <a:rPr lang="en-US" sz="1200" dirty="0" err="1">
                <a:solidFill>
                  <a:srgbClr val="000000"/>
                </a:solidFill>
              </a:rPr>
              <a:t>sollicitudin</a:t>
            </a:r>
            <a:r>
              <a:rPr lang="en-US" sz="1200" dirty="0">
                <a:solidFill>
                  <a:srgbClr val="000000"/>
                </a:solidFill>
              </a:rPr>
              <a:t> vel in diam.</a:t>
            </a:r>
          </a:p>
          <a:p>
            <a:pPr marL="180000" lvl="0" indent="-180000">
              <a:spcAft>
                <a:spcPts val="1600"/>
              </a:spcAft>
              <a:buClr>
                <a:srgbClr val="0925E2"/>
              </a:buClr>
              <a:defRPr/>
            </a:pPr>
            <a:r>
              <a:rPr lang="en-US" sz="1200" dirty="0" err="1">
                <a:solidFill>
                  <a:srgbClr val="000000"/>
                </a:solidFill>
              </a:rPr>
              <a:t>Aliqua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bibendum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ornar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osuere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id </a:t>
            </a:r>
            <a:r>
              <a:rPr lang="en-US" sz="1200" dirty="0" err="1">
                <a:solidFill>
                  <a:srgbClr val="000000"/>
                </a:solidFill>
              </a:rPr>
              <a:t>nunc</a:t>
            </a:r>
            <a:r>
              <a:rPr lang="en-US" sz="1200" dirty="0">
                <a:solidFill>
                  <a:srgbClr val="000000"/>
                </a:solidFill>
              </a:rPr>
              <a:t> vitae </a:t>
            </a:r>
            <a:r>
              <a:rPr lang="en-US" sz="1200" dirty="0" err="1">
                <a:solidFill>
                  <a:srgbClr val="000000"/>
                </a:solidFill>
              </a:rPr>
              <a:t>nulla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tti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ongue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pretium</a:t>
            </a:r>
            <a:r>
              <a:rPr lang="en-US" sz="1200" dirty="0">
                <a:solidFill>
                  <a:srgbClr val="000000"/>
                </a:solidFill>
              </a:rPr>
              <a:t> magna. </a:t>
            </a:r>
            <a:r>
              <a:rPr lang="en-US" sz="1200" dirty="0" err="1">
                <a:solidFill>
                  <a:srgbClr val="000000"/>
                </a:solidFill>
              </a:rPr>
              <a:t>Praesent</a:t>
            </a:r>
            <a:r>
              <a:rPr lang="en-US" sz="1200" dirty="0">
                <a:solidFill>
                  <a:srgbClr val="000000"/>
                </a:solidFill>
              </a:rPr>
              <a:t> vitae ligula </a:t>
            </a:r>
            <a:r>
              <a:rPr lang="en-US" sz="1200" dirty="0" err="1">
                <a:solidFill>
                  <a:srgbClr val="000000"/>
                </a:solidFill>
              </a:rPr>
              <a:t>suscipi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eleifend</a:t>
            </a:r>
            <a:r>
              <a:rPr lang="en-US" sz="1200" dirty="0">
                <a:solidFill>
                  <a:srgbClr val="000000"/>
                </a:solidFill>
              </a:rPr>
              <a:t> lorem </a:t>
            </a:r>
            <a:r>
              <a:rPr lang="en-US" sz="1200" dirty="0" err="1">
                <a:solidFill>
                  <a:srgbClr val="000000"/>
                </a:solidFill>
              </a:rPr>
              <a:t>ege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pretium</a:t>
            </a:r>
            <a:r>
              <a:rPr lang="en-US" sz="1200" dirty="0">
                <a:solidFill>
                  <a:srgbClr val="000000"/>
                </a:solidFill>
              </a:rPr>
              <a:t> ligula. Lorem ipsum dolor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consectetu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dipiscing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lit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Vivamus</a:t>
            </a:r>
            <a:r>
              <a:rPr lang="en-US" sz="1200" dirty="0">
                <a:solidFill>
                  <a:srgbClr val="000000"/>
                </a:solidFill>
              </a:rPr>
              <a:t> et </a:t>
            </a:r>
            <a:r>
              <a:rPr lang="en-US" sz="1200" dirty="0" err="1">
                <a:solidFill>
                  <a:srgbClr val="000000"/>
                </a:solidFill>
              </a:rPr>
              <a:t>ultrices</a:t>
            </a:r>
            <a:r>
              <a:rPr lang="en-US" sz="1200" dirty="0">
                <a:solidFill>
                  <a:srgbClr val="000000"/>
                </a:solidFill>
              </a:rPr>
              <a:t> ex. </a:t>
            </a:r>
            <a:r>
              <a:rPr lang="en-US" sz="1200" dirty="0" err="1">
                <a:solidFill>
                  <a:srgbClr val="000000"/>
                </a:solidFill>
              </a:rPr>
              <a:t>Quisque</a:t>
            </a:r>
            <a:r>
              <a:rPr lang="en-US" sz="1200" dirty="0">
                <a:solidFill>
                  <a:srgbClr val="000000"/>
                </a:solidFill>
              </a:rPr>
              <a:t> porta fermentum </a:t>
            </a:r>
            <a:r>
              <a:rPr lang="en-US" sz="1200" dirty="0" err="1">
                <a:solidFill>
                  <a:srgbClr val="000000"/>
                </a:solidFill>
              </a:rPr>
              <a:t>mauris</a:t>
            </a:r>
            <a:r>
              <a:rPr lang="en-US" sz="1200" dirty="0">
                <a:solidFill>
                  <a:srgbClr val="000000"/>
                </a:solidFill>
              </a:rPr>
              <a:t> non </a:t>
            </a:r>
            <a:r>
              <a:rPr lang="en-US" sz="1200" dirty="0" err="1">
                <a:solidFill>
                  <a:srgbClr val="000000"/>
                </a:solidFill>
              </a:rPr>
              <a:t>hendrerit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Etiam</a:t>
            </a:r>
            <a:r>
              <a:rPr lang="en-US" sz="1200" dirty="0">
                <a:solidFill>
                  <a:srgbClr val="000000"/>
                </a:solidFill>
              </a:rPr>
              <a:t>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liquet</a:t>
            </a:r>
            <a:r>
              <a:rPr lang="en-US" sz="1200" dirty="0">
                <a:solidFill>
                  <a:srgbClr val="000000"/>
                </a:solidFill>
              </a:rPr>
              <a:t> mi, sit </a:t>
            </a:r>
            <a:r>
              <a:rPr lang="en-US" sz="1200" dirty="0" err="1">
                <a:solidFill>
                  <a:srgbClr val="000000"/>
                </a:solidFill>
              </a:rPr>
              <a:t>ame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incidu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mauri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0" name="Текст 8">
            <a:extLst>
              <a:ext uri="{FF2B5EF4-FFF2-40B4-BE49-F238E27FC236}">
                <a16:creationId xmlns="" xmlns:a16="http://schemas.microsoft.com/office/drawing/2014/main" id="{04DBEE23-5AF3-4CBB-B6BE-027E156FBC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24870885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4024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1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EA5E833F-D606-4328-B2C0-3D231EBDF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Диаграмма 23">
            <a:extLst>
              <a:ext uri="{FF2B5EF4-FFF2-40B4-BE49-F238E27FC236}">
                <a16:creationId xmlns="" xmlns:a16="http://schemas.microsoft.com/office/drawing/2014/main" id="{FC4915BF-04DD-4EBD-9E3F-A9FF64EFFB7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50863" y="1742067"/>
            <a:ext cx="5016500" cy="46746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/>
          </a:p>
        </p:txBody>
      </p:sp>
      <p:sp>
        <p:nvSpPr>
          <p:cNvPr id="57" name="Диаграмма 23">
            <a:extLst>
              <a:ext uri="{FF2B5EF4-FFF2-40B4-BE49-F238E27FC236}">
                <a16:creationId xmlns="" xmlns:a16="http://schemas.microsoft.com/office/drawing/2014/main" id="{FBE7C759-305F-4D24-AFEE-DA0EEABF0EE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88287" y="1742067"/>
            <a:ext cx="5016500" cy="46746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/>
          </a:p>
        </p:txBody>
      </p:sp>
      <p:sp>
        <p:nvSpPr>
          <p:cNvPr id="27" name="Текст 26">
            <a:extLst>
              <a:ext uri="{FF2B5EF4-FFF2-40B4-BE49-F238E27FC236}">
                <a16:creationId xmlns="" xmlns:a16="http://schemas.microsoft.com/office/drawing/2014/main" id="{79B209C3-A385-4DC0-86E4-4E385AE4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1198877"/>
            <a:ext cx="5016500" cy="2215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58" name="Текст 26">
            <a:extLst>
              <a:ext uri="{FF2B5EF4-FFF2-40B4-BE49-F238E27FC236}">
                <a16:creationId xmlns="" xmlns:a16="http://schemas.microsoft.com/office/drawing/2014/main" id="{0C60C521-5E0D-409D-AAAB-7683B694A6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1415343"/>
            <a:ext cx="5016500" cy="1661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единицы измерения</a:t>
            </a:r>
          </a:p>
        </p:txBody>
      </p:sp>
      <p:sp>
        <p:nvSpPr>
          <p:cNvPr id="60" name="Текст 26">
            <a:extLst>
              <a:ext uri="{FF2B5EF4-FFF2-40B4-BE49-F238E27FC236}">
                <a16:creationId xmlns="" xmlns:a16="http://schemas.microsoft.com/office/drawing/2014/main" id="{69C8D5B2-A78E-48D5-BC21-EB8A719E34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88287" y="1198877"/>
            <a:ext cx="5016500" cy="2215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61" name="Текст 26">
            <a:extLst>
              <a:ext uri="{FF2B5EF4-FFF2-40B4-BE49-F238E27FC236}">
                <a16:creationId xmlns="" xmlns:a16="http://schemas.microsoft.com/office/drawing/2014/main" id="{9BE2E889-0E7B-487F-BDEB-D32048454D0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8287" y="1415343"/>
            <a:ext cx="5016500" cy="1661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единицы измерения</a:t>
            </a:r>
          </a:p>
        </p:txBody>
      </p:sp>
      <p:sp>
        <p:nvSpPr>
          <p:cNvPr id="16" name="Текст 8">
            <a:extLst>
              <a:ext uri="{FF2B5EF4-FFF2-40B4-BE49-F238E27FC236}">
                <a16:creationId xmlns="" xmlns:a16="http://schemas.microsoft.com/office/drawing/2014/main" id="{E19ED931-70C1-47F2-83F3-4C4246D646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740488346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и бул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6127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6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EA5E833F-D606-4328-B2C0-3D231EBDF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Диаграмма 23">
            <a:extLst>
              <a:ext uri="{FF2B5EF4-FFF2-40B4-BE49-F238E27FC236}">
                <a16:creationId xmlns="" xmlns:a16="http://schemas.microsoft.com/office/drawing/2014/main" id="{FC4915BF-04DD-4EBD-9E3F-A9FF64EFFB7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50862" y="1877167"/>
            <a:ext cx="5545137" cy="45395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/>
          </a:p>
        </p:txBody>
      </p:sp>
      <p:sp>
        <p:nvSpPr>
          <p:cNvPr id="27" name="Текст 26">
            <a:extLst>
              <a:ext uri="{FF2B5EF4-FFF2-40B4-BE49-F238E27FC236}">
                <a16:creationId xmlns="" xmlns:a16="http://schemas.microsoft.com/office/drawing/2014/main" id="{79B209C3-A385-4DC0-86E4-4E385AE4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1278035"/>
            <a:ext cx="50165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58" name="Текст 26">
            <a:extLst>
              <a:ext uri="{FF2B5EF4-FFF2-40B4-BE49-F238E27FC236}">
                <a16:creationId xmlns="" xmlns:a16="http://schemas.microsoft.com/office/drawing/2014/main" id="{0C60C521-5E0D-409D-AAAB-7683B694A6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1494501"/>
            <a:ext cx="5016500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единицы измерения, год</a:t>
            </a:r>
          </a:p>
        </p:txBody>
      </p:sp>
      <p:sp>
        <p:nvSpPr>
          <p:cNvPr id="59" name="Текст 26">
            <a:extLst>
              <a:ext uri="{FF2B5EF4-FFF2-40B4-BE49-F238E27FC236}">
                <a16:creationId xmlns="" xmlns:a16="http://schemas.microsoft.com/office/drawing/2014/main" id="{B0A4A96C-154E-449E-BB46-FC90D204C5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43914" y="1589904"/>
            <a:ext cx="4997224" cy="482677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714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eiusmod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="" xmlns:a16="http://schemas.microsoft.com/office/drawing/2014/main" id="{1D31311C-DDC1-47A4-8F33-04B83E54E7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43913" y="1278035"/>
            <a:ext cx="499722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Добавьте основные выводы по итогам анализа</a:t>
            </a:r>
          </a:p>
        </p:txBody>
      </p:sp>
      <p:sp>
        <p:nvSpPr>
          <p:cNvPr id="15" name="Текст 8">
            <a:extLst>
              <a:ext uri="{FF2B5EF4-FFF2-40B4-BE49-F238E27FC236}">
                <a16:creationId xmlns="" xmlns:a16="http://schemas.microsoft.com/office/drawing/2014/main" id="{D078FEFB-BD2B-4E91-8A03-D9CD89B963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95104049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или граф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17A7AE42-E196-437E-9C74-F0C0DF0B7C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8212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18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="" xmlns:a16="http://schemas.microsoft.com/office/drawing/2014/main" id="{17A7AE42-E196-437E-9C74-F0C0DF0B7C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32D4B18-544F-4124-BCA0-41540F8442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9D5186-85BD-4647-9A01-8226F56382D2}" type="slidenum">
              <a:rPr lang="ru-RU" smtClean="0"/>
              <a:t>‹#›</a:t>
            </a:fld>
            <a:endParaRPr lang="ru-RU"/>
          </a:p>
        </p:txBody>
      </p:sp>
      <p:sp>
        <p:nvSpPr>
          <p:cNvPr id="7" name="Текст 6">
            <a:extLst>
              <a:ext uri="{FF2B5EF4-FFF2-40B4-BE49-F238E27FC236}">
                <a16:creationId xmlns="" xmlns:a16="http://schemas.microsoft.com/office/drawing/2014/main" id="{2E9DA3C7-B1D9-43E9-9041-31196FFA4E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268413"/>
            <a:ext cx="10150475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ru-RU" sz="1400" b="1" kern="1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ru-RU" dirty="0"/>
              <a:t>Название графика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="" xmlns:a16="http://schemas.microsoft.com/office/drawing/2014/main" id="{4284EA51-2435-4205-AB46-F1C14FBAC9CB}"/>
              </a:ext>
            </a:extLst>
          </p:cNvPr>
          <p:cNvCxnSpPr>
            <a:cxnSpLocks/>
          </p:cNvCxnSpPr>
          <p:nvPr userDrawn="1"/>
        </p:nvCxnSpPr>
        <p:spPr>
          <a:xfrm flipV="1">
            <a:off x="323307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6BCF3CDF-8498-4C98-842D-1492D3CB7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="" xmlns:a16="http://schemas.microsoft.com/office/drawing/2014/main" id="{DB1597A9-57B6-47D9-9719-46559D376F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="" xmlns:a16="http://schemas.microsoft.com/office/drawing/2014/main" id="{D75A0CED-1997-475F-9FC5-3DCCDC240A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1505873"/>
            <a:ext cx="5016500" cy="1661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единицы измерения</a:t>
            </a:r>
          </a:p>
        </p:txBody>
      </p:sp>
    </p:spTree>
    <p:extLst>
      <p:ext uri="{BB962C8B-B14F-4D97-AF65-F5344CB8AC3E}">
        <p14:creationId xmlns:p14="http://schemas.microsoft.com/office/powerpoint/2010/main" val="1736038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бл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5F49936A-779F-43A2-A306-C4404F57C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3226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35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5F49936A-779F-43A2-A306-C4404F57C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06528DC6-87DA-4FB0-9F0A-97F1CCED5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045756-356C-45BA-AA9F-2C90E6EDF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342" y="481587"/>
            <a:ext cx="7595996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72A9D3-ABBB-4762-84CB-4297B41F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044" y="6557218"/>
            <a:ext cx="157094" cy="153888"/>
          </a:xfrm>
        </p:spPr>
        <p:txBody>
          <a:bodyPr lIns="0" tIns="0" rIns="0" bIns="0">
            <a:spAutoFit/>
          </a:bodyPr>
          <a:lstStyle>
            <a:lvl1pPr>
              <a:defRPr sz="1000"/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0B149FF5-298F-438A-97AE-AF053CEAFFDA}"/>
              </a:ext>
            </a:extLst>
          </p:cNvPr>
          <p:cNvSpPr/>
          <p:nvPr userDrawn="1"/>
        </p:nvSpPr>
        <p:spPr>
          <a:xfrm>
            <a:off x="1" y="0"/>
            <a:ext cx="2717799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8000" rIns="216000" rtlCol="0" anchor="ctr"/>
          <a:lstStyle/>
          <a:p>
            <a:pPr lvl="0">
              <a:lnSpc>
                <a:spcPct val="110000"/>
              </a:lnSpc>
              <a:spcAft>
                <a:spcPts val="1200"/>
              </a:spcAft>
              <a:buClr>
                <a:srgbClr val="1937FF"/>
              </a:buClr>
              <a:defRPr/>
            </a:pPr>
            <a:endParaRPr lang="ru-RU" sz="1200" dirty="0">
              <a:solidFill>
                <a:prstClr val="white">
                  <a:alpha val="70000"/>
                </a:prstClr>
              </a:solidFill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="" xmlns:a16="http://schemas.microsoft.com/office/drawing/2014/main" id="{FC3032E9-514D-49ED-AE2F-1C7DCB7B6D6E}"/>
              </a:ext>
            </a:extLst>
          </p:cNvPr>
          <p:cNvCxnSpPr>
            <a:cxnSpLocks/>
          </p:cNvCxnSpPr>
          <p:nvPr userDrawn="1"/>
        </p:nvCxnSpPr>
        <p:spPr>
          <a:xfrm flipV="1">
            <a:off x="2946245" y="321936"/>
            <a:ext cx="0" cy="68863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>
            <a:extLst>
              <a:ext uri="{FF2B5EF4-FFF2-40B4-BE49-F238E27FC236}">
                <a16:creationId xmlns="" xmlns:a16="http://schemas.microsoft.com/office/drawing/2014/main" id="{F43F0637-C2FE-420F-A337-FE07422E59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46248" y="6584917"/>
            <a:ext cx="6767815" cy="1108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800" dirty="0" smtClean="0">
                <a:solidFill>
                  <a:srgbClr val="898989"/>
                </a:solidFill>
              </a:defRPr>
            </a:lvl1pPr>
          </a:lstStyle>
          <a:p>
            <a:pPr marL="0"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82927390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24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vmlDrawing" Target="../drawings/vmlDrawing13.v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20" Type="http://schemas.openxmlformats.org/officeDocument/2006/relationships/oleObject" Target="../embeddings/oleObject13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25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>
            <a:extLst>
              <a:ext uri="{FF2B5EF4-FFF2-40B4-BE49-F238E27FC236}">
                <a16:creationId xmlns="" xmlns:a16="http://schemas.microsoft.com/office/drawing/2014/main" id="{8ED20E1C-C2AC-47B6-A9D5-386EDD1207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855315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5" name="Слайд think-cell" r:id="rId18" imgW="306" imgH="306" progId="TCLayout.ActiveDocument.1">
                  <p:embed/>
                </p:oleObj>
              </mc:Choice>
              <mc:Fallback>
                <p:oleObj name="Слайд think-cell" r:id="rId18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="" xmlns:a16="http://schemas.microsoft.com/office/drawing/2014/main" id="{2AA804D6-88E7-49FD-8418-271D8192B7CD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E5F3BBA-3540-4D8B-86D3-003119364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296921"/>
            <a:ext cx="10294938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ru-RU" dirty="0">
                <a:latin typeface="+mn-lt"/>
              </a:rPr>
              <a:t>Заголовок слайда</a:t>
            </a:r>
            <a:br>
              <a:rPr lang="ru-RU" dirty="0">
                <a:latin typeface="+mn-lt"/>
              </a:rPr>
            </a:br>
            <a:r>
              <a:rPr lang="ru-RU" dirty="0">
                <a:latin typeface="+mn-lt"/>
              </a:rPr>
              <a:t>в две строки</a:t>
            </a: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E4A3F89A-046D-4334-8CC3-6D11B30513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044" y="655721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="" xmlns:a16="http://schemas.microsoft.com/office/drawing/2014/main" id="{5B86D7C7-2CF5-4874-85B5-D8A21EFB1EF2}"/>
              </a:ext>
            </a:extLst>
          </p:cNvPr>
          <p:cNvSpPr/>
          <p:nvPr/>
        </p:nvSpPr>
        <p:spPr>
          <a:xfrm>
            <a:off x="11010898" y="382414"/>
            <a:ext cx="630240" cy="630293"/>
          </a:xfrm>
          <a:custGeom>
            <a:avLst/>
            <a:gdLst>
              <a:gd name="connsiteX0" fmla="*/ 72368 w 572945"/>
              <a:gd name="connsiteY0" fmla="*/ 331981 h 572994"/>
              <a:gd name="connsiteX1" fmla="*/ 73162 w 572945"/>
              <a:gd name="connsiteY1" fmla="*/ 331981 h 572994"/>
              <a:gd name="connsiteX2" fmla="*/ 83827 w 572945"/>
              <a:gd name="connsiteY2" fmla="*/ 339670 h 572994"/>
              <a:gd name="connsiteX3" fmla="*/ 87844 w 572945"/>
              <a:gd name="connsiteY3" fmla="*/ 365115 h 572994"/>
              <a:gd name="connsiteX4" fmla="*/ 85165 w 572945"/>
              <a:gd name="connsiteY4" fmla="*/ 379251 h 572994"/>
              <a:gd name="connsiteX5" fmla="*/ 79660 w 572945"/>
              <a:gd name="connsiteY5" fmla="*/ 383864 h 572994"/>
              <a:gd name="connsiteX6" fmla="*/ 74700 w 572945"/>
              <a:gd name="connsiteY6" fmla="*/ 379797 h 572994"/>
              <a:gd name="connsiteX7" fmla="*/ 72368 w 572945"/>
              <a:gd name="connsiteY7" fmla="*/ 367148 h 572994"/>
              <a:gd name="connsiteX8" fmla="*/ 155153 w 572945"/>
              <a:gd name="connsiteY8" fmla="*/ 330394 h 572994"/>
              <a:gd name="connsiteX9" fmla="*/ 167057 w 572945"/>
              <a:gd name="connsiteY9" fmla="*/ 342100 h 572994"/>
              <a:gd name="connsiteX10" fmla="*/ 170530 w 572945"/>
              <a:gd name="connsiteY10" fmla="*/ 372952 h 572994"/>
              <a:gd name="connsiteX11" fmla="*/ 166462 w 572945"/>
              <a:gd name="connsiteY11" fmla="*/ 404746 h 572994"/>
              <a:gd name="connsiteX12" fmla="*/ 155153 w 572945"/>
              <a:gd name="connsiteY12" fmla="*/ 416601 h 572994"/>
              <a:gd name="connsiteX13" fmla="*/ 144092 w 572945"/>
              <a:gd name="connsiteY13" fmla="*/ 404598 h 572994"/>
              <a:gd name="connsiteX14" fmla="*/ 140025 w 572945"/>
              <a:gd name="connsiteY14" fmla="*/ 373250 h 572994"/>
              <a:gd name="connsiteX15" fmla="*/ 144042 w 572945"/>
              <a:gd name="connsiteY15" fmla="*/ 341951 h 572994"/>
              <a:gd name="connsiteX16" fmla="*/ 155153 w 572945"/>
              <a:gd name="connsiteY16" fmla="*/ 330394 h 572994"/>
              <a:gd name="connsiteX17" fmla="*/ 52379 w 572945"/>
              <a:gd name="connsiteY17" fmla="*/ 314125 h 572994"/>
              <a:gd name="connsiteX18" fmla="*/ 52379 w 572945"/>
              <a:gd name="connsiteY18" fmla="*/ 433515 h 572994"/>
              <a:gd name="connsiteX19" fmla="*/ 72220 w 572945"/>
              <a:gd name="connsiteY19" fmla="*/ 433515 h 572994"/>
              <a:gd name="connsiteX20" fmla="*/ 72220 w 572945"/>
              <a:gd name="connsiteY20" fmla="*/ 398794 h 572994"/>
              <a:gd name="connsiteX21" fmla="*/ 97189 w 572945"/>
              <a:gd name="connsiteY21" fmla="*/ 399149 h 572994"/>
              <a:gd name="connsiteX22" fmla="*/ 100939 w 572945"/>
              <a:gd name="connsiteY22" fmla="*/ 393834 h 572994"/>
              <a:gd name="connsiteX23" fmla="*/ 108032 w 572945"/>
              <a:gd name="connsiteY23" fmla="*/ 360105 h 572994"/>
              <a:gd name="connsiteX24" fmla="*/ 102328 w 572945"/>
              <a:gd name="connsiteY24" fmla="*/ 332824 h 572994"/>
              <a:gd name="connsiteX25" fmla="*/ 73063 w 572945"/>
              <a:gd name="connsiteY25" fmla="*/ 314125 h 572994"/>
              <a:gd name="connsiteX26" fmla="*/ 338331 w 572945"/>
              <a:gd name="connsiteY26" fmla="*/ 311049 h 572994"/>
              <a:gd name="connsiteX27" fmla="*/ 293689 w 572945"/>
              <a:gd name="connsiteY27" fmla="*/ 329154 h 572994"/>
              <a:gd name="connsiteX28" fmla="*/ 279752 w 572945"/>
              <a:gd name="connsiteY28" fmla="*/ 374192 h 572994"/>
              <a:gd name="connsiteX29" fmla="*/ 294880 w 572945"/>
              <a:gd name="connsiteY29" fmla="*/ 419081 h 572994"/>
              <a:gd name="connsiteX30" fmla="*/ 338678 w 572945"/>
              <a:gd name="connsiteY30" fmla="*/ 437185 h 572994"/>
              <a:gd name="connsiteX31" fmla="*/ 339621 w 572945"/>
              <a:gd name="connsiteY31" fmla="*/ 437185 h 572994"/>
              <a:gd name="connsiteX32" fmla="*/ 339621 w 572945"/>
              <a:gd name="connsiteY32" fmla="*/ 416303 h 572994"/>
              <a:gd name="connsiteX33" fmla="*/ 338678 w 572945"/>
              <a:gd name="connsiteY33" fmla="*/ 416303 h 572994"/>
              <a:gd name="connsiteX34" fmla="*/ 309860 w 572945"/>
              <a:gd name="connsiteY34" fmla="*/ 404002 h 572994"/>
              <a:gd name="connsiteX35" fmla="*/ 310108 w 572945"/>
              <a:gd name="connsiteY35" fmla="*/ 404002 h 572994"/>
              <a:gd name="connsiteX36" fmla="*/ 309661 w 572945"/>
              <a:gd name="connsiteY36" fmla="*/ 344084 h 572994"/>
              <a:gd name="connsiteX37" fmla="*/ 338331 w 572945"/>
              <a:gd name="connsiteY37" fmla="*/ 331932 h 572994"/>
              <a:gd name="connsiteX38" fmla="*/ 339273 w 572945"/>
              <a:gd name="connsiteY38" fmla="*/ 331932 h 572994"/>
              <a:gd name="connsiteX39" fmla="*/ 339273 w 572945"/>
              <a:gd name="connsiteY39" fmla="*/ 311049 h 572994"/>
              <a:gd name="connsiteX40" fmla="*/ 263929 w 572945"/>
              <a:gd name="connsiteY40" fmla="*/ 311049 h 572994"/>
              <a:gd name="connsiteX41" fmla="*/ 219287 w 572945"/>
              <a:gd name="connsiteY41" fmla="*/ 329154 h 572994"/>
              <a:gd name="connsiteX42" fmla="*/ 205350 w 572945"/>
              <a:gd name="connsiteY42" fmla="*/ 374192 h 572994"/>
              <a:gd name="connsiteX43" fmla="*/ 220478 w 572945"/>
              <a:gd name="connsiteY43" fmla="*/ 419081 h 572994"/>
              <a:gd name="connsiteX44" fmla="*/ 264276 w 572945"/>
              <a:gd name="connsiteY44" fmla="*/ 437185 h 572994"/>
              <a:gd name="connsiteX45" fmla="*/ 265218 w 572945"/>
              <a:gd name="connsiteY45" fmla="*/ 437185 h 572994"/>
              <a:gd name="connsiteX46" fmla="*/ 265218 w 572945"/>
              <a:gd name="connsiteY46" fmla="*/ 416303 h 572994"/>
              <a:gd name="connsiteX47" fmla="*/ 264276 w 572945"/>
              <a:gd name="connsiteY47" fmla="*/ 416303 h 572994"/>
              <a:gd name="connsiteX48" fmla="*/ 235904 w 572945"/>
              <a:gd name="connsiteY48" fmla="*/ 404002 h 572994"/>
              <a:gd name="connsiteX49" fmla="*/ 235706 w 572945"/>
              <a:gd name="connsiteY49" fmla="*/ 404002 h 572994"/>
              <a:gd name="connsiteX50" fmla="*/ 235259 w 572945"/>
              <a:gd name="connsiteY50" fmla="*/ 344084 h 572994"/>
              <a:gd name="connsiteX51" fmla="*/ 263929 w 572945"/>
              <a:gd name="connsiteY51" fmla="*/ 331932 h 572994"/>
              <a:gd name="connsiteX52" fmla="*/ 264871 w 572945"/>
              <a:gd name="connsiteY52" fmla="*/ 331932 h 572994"/>
              <a:gd name="connsiteX53" fmla="*/ 264871 w 572945"/>
              <a:gd name="connsiteY53" fmla="*/ 311049 h 572994"/>
              <a:gd name="connsiteX54" fmla="*/ 155104 w 572945"/>
              <a:gd name="connsiteY54" fmla="*/ 311049 h 572994"/>
              <a:gd name="connsiteX55" fmla="*/ 130303 w 572945"/>
              <a:gd name="connsiteY55" fmla="*/ 328410 h 572994"/>
              <a:gd name="connsiteX56" fmla="*/ 121474 w 572945"/>
              <a:gd name="connsiteY56" fmla="*/ 373051 h 572994"/>
              <a:gd name="connsiteX57" fmla="*/ 129906 w 572945"/>
              <a:gd name="connsiteY57" fmla="*/ 418635 h 572994"/>
              <a:gd name="connsiteX58" fmla="*/ 155054 w 572945"/>
              <a:gd name="connsiteY58" fmla="*/ 435896 h 572994"/>
              <a:gd name="connsiteX59" fmla="*/ 181293 w 572945"/>
              <a:gd name="connsiteY59" fmla="*/ 417791 h 572994"/>
              <a:gd name="connsiteX60" fmla="*/ 190122 w 572945"/>
              <a:gd name="connsiteY60" fmla="*/ 372853 h 572994"/>
              <a:gd name="connsiteX61" fmla="*/ 181006 w 572945"/>
              <a:gd name="connsiteY61" fmla="*/ 328265 h 572994"/>
              <a:gd name="connsiteX62" fmla="*/ 181045 w 572945"/>
              <a:gd name="connsiteY62" fmla="*/ 328311 h 572994"/>
              <a:gd name="connsiteX63" fmla="*/ 180995 w 572945"/>
              <a:gd name="connsiteY63" fmla="*/ 328212 h 572994"/>
              <a:gd name="connsiteX64" fmla="*/ 181006 w 572945"/>
              <a:gd name="connsiteY64" fmla="*/ 328265 h 572994"/>
              <a:gd name="connsiteX65" fmla="*/ 169916 w 572945"/>
              <a:gd name="connsiteY65" fmla="*/ 315383 h 572994"/>
              <a:gd name="connsiteX66" fmla="*/ 155104 w 572945"/>
              <a:gd name="connsiteY66" fmla="*/ 311049 h 572994"/>
              <a:gd name="connsiteX67" fmla="*/ 515953 w 572945"/>
              <a:gd name="connsiteY67" fmla="*/ 308371 h 572994"/>
              <a:gd name="connsiteX68" fmla="*/ 514416 w 572945"/>
              <a:gd name="connsiteY68" fmla="*/ 310008 h 572994"/>
              <a:gd name="connsiteX69" fmla="*/ 470171 w 572945"/>
              <a:gd name="connsiteY69" fmla="*/ 356236 h 572994"/>
              <a:gd name="connsiteX70" fmla="*/ 470171 w 572945"/>
              <a:gd name="connsiteY70" fmla="*/ 314125 h 572994"/>
              <a:gd name="connsiteX71" fmla="*/ 450826 w 572945"/>
              <a:gd name="connsiteY71" fmla="*/ 314125 h 572994"/>
              <a:gd name="connsiteX72" fmla="*/ 450826 w 572945"/>
              <a:gd name="connsiteY72" fmla="*/ 433813 h 572994"/>
              <a:gd name="connsiteX73" fmla="*/ 470171 w 572945"/>
              <a:gd name="connsiteY73" fmla="*/ 433813 h 572994"/>
              <a:gd name="connsiteX74" fmla="*/ 470171 w 572945"/>
              <a:gd name="connsiteY74" fmla="*/ 384658 h 572994"/>
              <a:gd name="connsiteX75" fmla="*/ 498245 w 572945"/>
              <a:gd name="connsiteY75" fmla="*/ 354897 h 572994"/>
              <a:gd name="connsiteX76" fmla="*/ 501073 w 572945"/>
              <a:gd name="connsiteY76" fmla="*/ 433763 h 572994"/>
              <a:gd name="connsiteX77" fmla="*/ 520914 w 572945"/>
              <a:gd name="connsiteY77" fmla="*/ 433763 h 572994"/>
              <a:gd name="connsiteX78" fmla="*/ 423595 w 572945"/>
              <a:gd name="connsiteY78" fmla="*/ 308173 h 572994"/>
              <a:gd name="connsiteX79" fmla="*/ 422058 w 572945"/>
              <a:gd name="connsiteY79" fmla="*/ 309809 h 572994"/>
              <a:gd name="connsiteX80" fmla="*/ 377813 w 572945"/>
              <a:gd name="connsiteY80" fmla="*/ 356038 h 572994"/>
              <a:gd name="connsiteX81" fmla="*/ 377813 w 572945"/>
              <a:gd name="connsiteY81" fmla="*/ 313926 h 572994"/>
              <a:gd name="connsiteX82" fmla="*/ 358469 w 572945"/>
              <a:gd name="connsiteY82" fmla="*/ 313926 h 572994"/>
              <a:gd name="connsiteX83" fmla="*/ 358469 w 572945"/>
              <a:gd name="connsiteY83" fmla="*/ 433614 h 572994"/>
              <a:gd name="connsiteX84" fmla="*/ 377813 w 572945"/>
              <a:gd name="connsiteY84" fmla="*/ 433614 h 572994"/>
              <a:gd name="connsiteX85" fmla="*/ 377813 w 572945"/>
              <a:gd name="connsiteY85" fmla="*/ 384459 h 572994"/>
              <a:gd name="connsiteX86" fmla="*/ 405888 w 572945"/>
              <a:gd name="connsiteY86" fmla="*/ 354698 h 572994"/>
              <a:gd name="connsiteX87" fmla="*/ 408715 w 572945"/>
              <a:gd name="connsiteY87" fmla="*/ 433565 h 572994"/>
              <a:gd name="connsiteX88" fmla="*/ 428556 w 572945"/>
              <a:gd name="connsiteY88" fmla="*/ 433565 h 572994"/>
              <a:gd name="connsiteX89" fmla="*/ 461739 w 572945"/>
              <a:gd name="connsiteY89" fmla="*/ 158377 h 572994"/>
              <a:gd name="connsiteX90" fmla="*/ 469774 w 572945"/>
              <a:gd name="connsiteY90" fmla="*/ 158377 h 572994"/>
              <a:gd name="connsiteX91" fmla="*/ 481778 w 572945"/>
              <a:gd name="connsiteY91" fmla="*/ 163634 h 572994"/>
              <a:gd name="connsiteX92" fmla="*/ 485895 w 572945"/>
              <a:gd name="connsiteY92" fmla="*/ 180003 h 572994"/>
              <a:gd name="connsiteX93" fmla="*/ 461094 w 572945"/>
              <a:gd name="connsiteY93" fmla="*/ 180003 h 572994"/>
              <a:gd name="connsiteX94" fmla="*/ 192404 w 572945"/>
              <a:gd name="connsiteY94" fmla="*/ 155698 h 572994"/>
              <a:gd name="connsiteX95" fmla="*/ 205449 w 572945"/>
              <a:gd name="connsiteY95" fmla="*/ 167107 h 572994"/>
              <a:gd name="connsiteX96" fmla="*/ 209318 w 572945"/>
              <a:gd name="connsiteY96" fmla="*/ 197760 h 572994"/>
              <a:gd name="connsiteX97" fmla="*/ 204804 w 572945"/>
              <a:gd name="connsiteY97" fmla="*/ 229306 h 572994"/>
              <a:gd name="connsiteX98" fmla="*/ 204754 w 572945"/>
              <a:gd name="connsiteY98" fmla="*/ 229108 h 572994"/>
              <a:gd name="connsiteX99" fmla="*/ 192354 w 572945"/>
              <a:gd name="connsiteY99" fmla="*/ 240666 h 572994"/>
              <a:gd name="connsiteX100" fmla="*/ 180301 w 572945"/>
              <a:gd name="connsiteY100" fmla="*/ 228910 h 572994"/>
              <a:gd name="connsiteX101" fmla="*/ 175787 w 572945"/>
              <a:gd name="connsiteY101" fmla="*/ 198058 h 572994"/>
              <a:gd name="connsiteX102" fmla="*/ 180251 w 572945"/>
              <a:gd name="connsiteY102" fmla="*/ 166958 h 572994"/>
              <a:gd name="connsiteX103" fmla="*/ 192404 w 572945"/>
              <a:gd name="connsiteY103" fmla="*/ 155698 h 572994"/>
              <a:gd name="connsiteX104" fmla="*/ 440609 w 572945"/>
              <a:gd name="connsiteY104" fmla="*/ 138536 h 572994"/>
              <a:gd name="connsiteX105" fmla="*/ 436541 w 572945"/>
              <a:gd name="connsiteY105" fmla="*/ 258919 h 572994"/>
              <a:gd name="connsiteX106" fmla="*/ 458664 w 572945"/>
              <a:gd name="connsiteY106" fmla="*/ 258919 h 572994"/>
              <a:gd name="connsiteX107" fmla="*/ 460796 w 572945"/>
              <a:gd name="connsiteY107" fmla="*/ 199993 h 572994"/>
              <a:gd name="connsiteX108" fmla="*/ 488425 w 572945"/>
              <a:gd name="connsiteY108" fmla="*/ 199993 h 572994"/>
              <a:gd name="connsiteX109" fmla="*/ 494625 w 572945"/>
              <a:gd name="connsiteY109" fmla="*/ 258720 h 572994"/>
              <a:gd name="connsiteX110" fmla="*/ 516945 w 572945"/>
              <a:gd name="connsiteY110" fmla="*/ 258720 h 572994"/>
              <a:gd name="connsiteX111" fmla="*/ 506727 w 572945"/>
              <a:gd name="connsiteY111" fmla="*/ 170777 h 572994"/>
              <a:gd name="connsiteX112" fmla="*/ 496162 w 572945"/>
              <a:gd name="connsiteY112" fmla="*/ 145034 h 572994"/>
              <a:gd name="connsiteX113" fmla="*/ 473395 w 572945"/>
              <a:gd name="connsiteY113" fmla="*/ 138536 h 572994"/>
              <a:gd name="connsiteX114" fmla="*/ 352517 w 572945"/>
              <a:gd name="connsiteY114" fmla="*/ 138536 h 572994"/>
              <a:gd name="connsiteX115" fmla="*/ 352517 w 572945"/>
              <a:gd name="connsiteY115" fmla="*/ 158377 h 572994"/>
              <a:gd name="connsiteX116" fmla="*/ 370869 w 572945"/>
              <a:gd name="connsiteY116" fmla="*/ 158377 h 572994"/>
              <a:gd name="connsiteX117" fmla="*/ 371067 w 572945"/>
              <a:gd name="connsiteY117" fmla="*/ 258770 h 572994"/>
              <a:gd name="connsiteX118" fmla="*/ 393190 w 572945"/>
              <a:gd name="connsiteY118" fmla="*/ 258770 h 572994"/>
              <a:gd name="connsiteX119" fmla="*/ 393190 w 572945"/>
              <a:gd name="connsiteY119" fmla="*/ 158377 h 572994"/>
              <a:gd name="connsiteX120" fmla="*/ 411840 w 572945"/>
              <a:gd name="connsiteY120" fmla="*/ 158377 h 572994"/>
              <a:gd name="connsiteX121" fmla="*/ 411840 w 572945"/>
              <a:gd name="connsiteY121" fmla="*/ 138536 h 572994"/>
              <a:gd name="connsiteX122" fmla="*/ 256141 w 572945"/>
              <a:gd name="connsiteY122" fmla="*/ 138536 h 572994"/>
              <a:gd name="connsiteX123" fmla="*/ 256141 w 572945"/>
              <a:gd name="connsiteY123" fmla="*/ 172761 h 572994"/>
              <a:gd name="connsiteX124" fmla="*/ 265466 w 572945"/>
              <a:gd name="connsiteY124" fmla="*/ 192602 h 572994"/>
              <a:gd name="connsiteX125" fmla="*/ 287737 w 572945"/>
              <a:gd name="connsiteY125" fmla="*/ 200538 h 572994"/>
              <a:gd name="connsiteX126" fmla="*/ 303858 w 572945"/>
              <a:gd name="connsiteY126" fmla="*/ 200637 h 572994"/>
              <a:gd name="connsiteX127" fmla="*/ 303858 w 572945"/>
              <a:gd name="connsiteY127" fmla="*/ 258770 h 572994"/>
              <a:gd name="connsiteX128" fmla="*/ 325980 w 572945"/>
              <a:gd name="connsiteY128" fmla="*/ 258770 h 572994"/>
              <a:gd name="connsiteX129" fmla="*/ 325980 w 572945"/>
              <a:gd name="connsiteY129" fmla="*/ 138536 h 572994"/>
              <a:gd name="connsiteX130" fmla="*/ 303858 w 572945"/>
              <a:gd name="connsiteY130" fmla="*/ 138536 h 572994"/>
              <a:gd name="connsiteX131" fmla="*/ 303858 w 572945"/>
              <a:gd name="connsiteY131" fmla="*/ 180449 h 572994"/>
              <a:gd name="connsiteX132" fmla="*/ 291805 w 572945"/>
              <a:gd name="connsiteY132" fmla="*/ 180449 h 572994"/>
              <a:gd name="connsiteX133" fmla="*/ 280793 w 572945"/>
              <a:gd name="connsiteY133" fmla="*/ 177077 h 572994"/>
              <a:gd name="connsiteX134" fmla="*/ 278263 w 572945"/>
              <a:gd name="connsiteY134" fmla="*/ 170629 h 572994"/>
              <a:gd name="connsiteX135" fmla="*/ 278264 w 572945"/>
              <a:gd name="connsiteY135" fmla="*/ 138536 h 572994"/>
              <a:gd name="connsiteX136" fmla="*/ 52676 w 572945"/>
              <a:gd name="connsiteY136" fmla="*/ 138536 h 572994"/>
              <a:gd name="connsiteX137" fmla="*/ 52676 w 572945"/>
              <a:gd name="connsiteY137" fmla="*/ 258919 h 572994"/>
              <a:gd name="connsiteX138" fmla="*/ 74799 w 572945"/>
              <a:gd name="connsiteY138" fmla="*/ 258919 h 572994"/>
              <a:gd name="connsiteX139" fmla="*/ 74799 w 572945"/>
              <a:gd name="connsiteY139" fmla="*/ 158377 h 572994"/>
              <a:gd name="connsiteX140" fmla="*/ 101980 w 572945"/>
              <a:gd name="connsiteY140" fmla="*/ 158377 h 572994"/>
              <a:gd name="connsiteX141" fmla="*/ 101980 w 572945"/>
              <a:gd name="connsiteY141" fmla="*/ 258720 h 572994"/>
              <a:gd name="connsiteX142" fmla="*/ 124102 w 572945"/>
              <a:gd name="connsiteY142" fmla="*/ 258720 h 572994"/>
              <a:gd name="connsiteX143" fmla="*/ 124102 w 572945"/>
              <a:gd name="connsiteY143" fmla="*/ 138536 h 572994"/>
              <a:gd name="connsiteX144" fmla="*/ 192354 w 572945"/>
              <a:gd name="connsiteY144" fmla="*/ 135114 h 572994"/>
              <a:gd name="connsiteX145" fmla="*/ 164478 w 572945"/>
              <a:gd name="connsiteY145" fmla="*/ 152673 h 572994"/>
              <a:gd name="connsiteX146" fmla="*/ 154558 w 572945"/>
              <a:gd name="connsiteY146" fmla="*/ 197661 h 572994"/>
              <a:gd name="connsiteX147" fmla="*/ 164032 w 572945"/>
              <a:gd name="connsiteY147" fmla="*/ 243542 h 572994"/>
              <a:gd name="connsiteX148" fmla="*/ 192354 w 572945"/>
              <a:gd name="connsiteY148" fmla="*/ 261051 h 572994"/>
              <a:gd name="connsiteX149" fmla="*/ 221867 w 572945"/>
              <a:gd name="connsiteY149" fmla="*/ 242699 h 572994"/>
              <a:gd name="connsiteX150" fmla="*/ 231787 w 572945"/>
              <a:gd name="connsiteY150" fmla="*/ 197463 h 572994"/>
              <a:gd name="connsiteX151" fmla="*/ 221569 w 572945"/>
              <a:gd name="connsiteY151" fmla="*/ 152574 h 572994"/>
              <a:gd name="connsiteX152" fmla="*/ 192354 w 572945"/>
              <a:gd name="connsiteY152" fmla="*/ 135114 h 572994"/>
              <a:gd name="connsiteX153" fmla="*/ 22569 w 572945"/>
              <a:gd name="connsiteY153" fmla="*/ 0 h 572994"/>
              <a:gd name="connsiteX154" fmla="*/ 550377 w 572945"/>
              <a:gd name="connsiteY154" fmla="*/ 0 h 572994"/>
              <a:gd name="connsiteX155" fmla="*/ 572945 w 572945"/>
              <a:gd name="connsiteY155" fmla="*/ 22569 h 572994"/>
              <a:gd name="connsiteX156" fmla="*/ 572945 w 572945"/>
              <a:gd name="connsiteY156" fmla="*/ 550425 h 572994"/>
              <a:gd name="connsiteX157" fmla="*/ 550377 w 572945"/>
              <a:gd name="connsiteY157" fmla="*/ 572994 h 572994"/>
              <a:gd name="connsiteX158" fmla="*/ 22569 w 572945"/>
              <a:gd name="connsiteY158" fmla="*/ 572994 h 572994"/>
              <a:gd name="connsiteX159" fmla="*/ 0 w 572945"/>
              <a:gd name="connsiteY159" fmla="*/ 550425 h 572994"/>
              <a:gd name="connsiteX160" fmla="*/ 0 w 572945"/>
              <a:gd name="connsiteY160" fmla="*/ 22569 h 572994"/>
              <a:gd name="connsiteX161" fmla="*/ 22569 w 572945"/>
              <a:gd name="connsiteY161" fmla="*/ 0 h 572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572945" h="572994">
                <a:moveTo>
                  <a:pt x="72368" y="331981"/>
                </a:moveTo>
                <a:lnTo>
                  <a:pt x="73162" y="331981"/>
                </a:lnTo>
                <a:cubicBezTo>
                  <a:pt x="77956" y="332117"/>
                  <a:pt x="82182" y="335164"/>
                  <a:pt x="83827" y="339670"/>
                </a:cubicBezTo>
                <a:cubicBezTo>
                  <a:pt x="86987" y="347762"/>
                  <a:pt x="88358" y="356442"/>
                  <a:pt x="87844" y="365115"/>
                </a:cubicBezTo>
                <a:cubicBezTo>
                  <a:pt x="88047" y="369970"/>
                  <a:pt x="87130" y="374807"/>
                  <a:pt x="85165" y="379251"/>
                </a:cubicBezTo>
                <a:cubicBezTo>
                  <a:pt x="83578" y="382327"/>
                  <a:pt x="81743" y="383864"/>
                  <a:pt x="79660" y="383864"/>
                </a:cubicBezTo>
                <a:cubicBezTo>
                  <a:pt x="77576" y="383864"/>
                  <a:pt x="75989" y="382525"/>
                  <a:pt x="74700" y="379797"/>
                </a:cubicBezTo>
                <a:cubicBezTo>
                  <a:pt x="72940" y="375823"/>
                  <a:pt x="72141" y="371489"/>
                  <a:pt x="72368" y="367148"/>
                </a:cubicBezTo>
                <a:close/>
                <a:moveTo>
                  <a:pt x="155153" y="330394"/>
                </a:moveTo>
                <a:cubicBezTo>
                  <a:pt x="159964" y="330394"/>
                  <a:pt x="164527" y="334213"/>
                  <a:pt x="167057" y="342100"/>
                </a:cubicBezTo>
                <a:cubicBezTo>
                  <a:pt x="169731" y="352156"/>
                  <a:pt x="170901" y="362553"/>
                  <a:pt x="170530" y="372952"/>
                </a:cubicBezTo>
                <a:cubicBezTo>
                  <a:pt x="170822" y="383696"/>
                  <a:pt x="169450" y="394422"/>
                  <a:pt x="166462" y="404746"/>
                </a:cubicBezTo>
                <a:cubicBezTo>
                  <a:pt x="163883" y="412633"/>
                  <a:pt x="160064" y="416601"/>
                  <a:pt x="155153" y="416601"/>
                </a:cubicBezTo>
                <a:cubicBezTo>
                  <a:pt x="150242" y="416601"/>
                  <a:pt x="146720" y="412534"/>
                  <a:pt x="144092" y="404598"/>
                </a:cubicBezTo>
                <a:cubicBezTo>
                  <a:pt x="141132" y="394419"/>
                  <a:pt x="139760" y="383846"/>
                  <a:pt x="140025" y="373250"/>
                </a:cubicBezTo>
                <a:cubicBezTo>
                  <a:pt x="139730" y="362672"/>
                  <a:pt x="141085" y="352112"/>
                  <a:pt x="144042" y="341951"/>
                </a:cubicBezTo>
                <a:cubicBezTo>
                  <a:pt x="146572" y="334313"/>
                  <a:pt x="150342" y="330394"/>
                  <a:pt x="155153" y="330394"/>
                </a:cubicBezTo>
                <a:close/>
                <a:moveTo>
                  <a:pt x="52379" y="314125"/>
                </a:moveTo>
                <a:lnTo>
                  <a:pt x="52379" y="433515"/>
                </a:lnTo>
                <a:lnTo>
                  <a:pt x="72220" y="433515"/>
                </a:lnTo>
                <a:lnTo>
                  <a:pt x="72220" y="398794"/>
                </a:lnTo>
                <a:cubicBezTo>
                  <a:pt x="79017" y="405787"/>
                  <a:pt x="90196" y="405946"/>
                  <a:pt x="97189" y="399149"/>
                </a:cubicBezTo>
                <a:cubicBezTo>
                  <a:pt x="98757" y="397625"/>
                  <a:pt x="100029" y="395822"/>
                  <a:pt x="100939" y="393834"/>
                </a:cubicBezTo>
                <a:cubicBezTo>
                  <a:pt x="106271" y="383425"/>
                  <a:pt x="108720" y="371779"/>
                  <a:pt x="108032" y="360105"/>
                </a:cubicBezTo>
                <a:cubicBezTo>
                  <a:pt x="108206" y="350699"/>
                  <a:pt x="106257" y="341374"/>
                  <a:pt x="102328" y="332824"/>
                </a:cubicBezTo>
                <a:cubicBezTo>
                  <a:pt x="97442" y="321085"/>
                  <a:pt x="85768" y="313626"/>
                  <a:pt x="73063" y="314125"/>
                </a:cubicBezTo>
                <a:close/>
                <a:moveTo>
                  <a:pt x="338331" y="311049"/>
                </a:moveTo>
                <a:cubicBezTo>
                  <a:pt x="318837" y="311049"/>
                  <a:pt x="303610" y="317150"/>
                  <a:pt x="293689" y="329154"/>
                </a:cubicBezTo>
                <a:cubicBezTo>
                  <a:pt x="284464" y="340016"/>
                  <a:pt x="279752" y="355195"/>
                  <a:pt x="279752" y="374192"/>
                </a:cubicBezTo>
                <a:cubicBezTo>
                  <a:pt x="279044" y="390514"/>
                  <a:pt x="284437" y="406516"/>
                  <a:pt x="294880" y="419081"/>
                </a:cubicBezTo>
                <a:cubicBezTo>
                  <a:pt x="306039" y="431359"/>
                  <a:pt x="322107" y="438000"/>
                  <a:pt x="338678" y="437185"/>
                </a:cubicBezTo>
                <a:lnTo>
                  <a:pt x="339621" y="437185"/>
                </a:lnTo>
                <a:lnTo>
                  <a:pt x="339621" y="416303"/>
                </a:lnTo>
                <a:lnTo>
                  <a:pt x="338678" y="416303"/>
                </a:lnTo>
                <a:cubicBezTo>
                  <a:pt x="327672" y="416961"/>
                  <a:pt x="316998" y="412405"/>
                  <a:pt x="309860" y="404002"/>
                </a:cubicBezTo>
                <a:lnTo>
                  <a:pt x="310108" y="404002"/>
                </a:lnTo>
                <a:cubicBezTo>
                  <a:pt x="297620" y="386032"/>
                  <a:pt x="297443" y="362239"/>
                  <a:pt x="309661" y="344084"/>
                </a:cubicBezTo>
                <a:cubicBezTo>
                  <a:pt x="316764" y="335735"/>
                  <a:pt x="327392" y="331230"/>
                  <a:pt x="338331" y="331932"/>
                </a:cubicBezTo>
                <a:lnTo>
                  <a:pt x="339273" y="331932"/>
                </a:lnTo>
                <a:lnTo>
                  <a:pt x="339273" y="311049"/>
                </a:lnTo>
                <a:close/>
                <a:moveTo>
                  <a:pt x="263929" y="311049"/>
                </a:moveTo>
                <a:cubicBezTo>
                  <a:pt x="244435" y="311049"/>
                  <a:pt x="229208" y="317150"/>
                  <a:pt x="219287" y="329154"/>
                </a:cubicBezTo>
                <a:cubicBezTo>
                  <a:pt x="210062" y="340016"/>
                  <a:pt x="205350" y="355195"/>
                  <a:pt x="205350" y="374192"/>
                </a:cubicBezTo>
                <a:cubicBezTo>
                  <a:pt x="204642" y="390514"/>
                  <a:pt x="210035" y="406516"/>
                  <a:pt x="220478" y="419081"/>
                </a:cubicBezTo>
                <a:cubicBezTo>
                  <a:pt x="231637" y="431359"/>
                  <a:pt x="247705" y="438000"/>
                  <a:pt x="264276" y="437185"/>
                </a:cubicBezTo>
                <a:lnTo>
                  <a:pt x="265218" y="437185"/>
                </a:lnTo>
                <a:lnTo>
                  <a:pt x="265218" y="416303"/>
                </a:lnTo>
                <a:lnTo>
                  <a:pt x="264276" y="416303"/>
                </a:lnTo>
                <a:cubicBezTo>
                  <a:pt x="253424" y="416819"/>
                  <a:pt x="242945" y="412276"/>
                  <a:pt x="235904" y="404002"/>
                </a:cubicBezTo>
                <a:lnTo>
                  <a:pt x="235706" y="404002"/>
                </a:lnTo>
                <a:cubicBezTo>
                  <a:pt x="223218" y="386032"/>
                  <a:pt x="223041" y="362239"/>
                  <a:pt x="235259" y="344084"/>
                </a:cubicBezTo>
                <a:cubicBezTo>
                  <a:pt x="242362" y="335735"/>
                  <a:pt x="252990" y="331230"/>
                  <a:pt x="263929" y="331932"/>
                </a:cubicBezTo>
                <a:lnTo>
                  <a:pt x="264871" y="331932"/>
                </a:lnTo>
                <a:lnTo>
                  <a:pt x="264871" y="311049"/>
                </a:lnTo>
                <a:close/>
                <a:moveTo>
                  <a:pt x="155104" y="311049"/>
                </a:moveTo>
                <a:cubicBezTo>
                  <a:pt x="144042" y="311049"/>
                  <a:pt x="136304" y="316903"/>
                  <a:pt x="130303" y="328410"/>
                </a:cubicBezTo>
                <a:cubicBezTo>
                  <a:pt x="123893" y="342390"/>
                  <a:pt x="120868" y="357684"/>
                  <a:pt x="121474" y="373051"/>
                </a:cubicBezTo>
                <a:cubicBezTo>
                  <a:pt x="120809" y="388687"/>
                  <a:pt x="123692" y="404271"/>
                  <a:pt x="129906" y="418635"/>
                </a:cubicBezTo>
                <a:cubicBezTo>
                  <a:pt x="135610" y="430092"/>
                  <a:pt x="144042" y="435896"/>
                  <a:pt x="155054" y="435896"/>
                </a:cubicBezTo>
                <a:cubicBezTo>
                  <a:pt x="166065" y="435896"/>
                  <a:pt x="174894" y="429795"/>
                  <a:pt x="181293" y="417791"/>
                </a:cubicBezTo>
                <a:cubicBezTo>
                  <a:pt x="187735" y="403716"/>
                  <a:pt x="190760" y="388318"/>
                  <a:pt x="190122" y="372853"/>
                </a:cubicBezTo>
                <a:lnTo>
                  <a:pt x="181006" y="328265"/>
                </a:lnTo>
                <a:lnTo>
                  <a:pt x="181045" y="328311"/>
                </a:lnTo>
                <a:lnTo>
                  <a:pt x="180995" y="328212"/>
                </a:lnTo>
                <a:lnTo>
                  <a:pt x="181006" y="328265"/>
                </a:lnTo>
                <a:lnTo>
                  <a:pt x="169916" y="315383"/>
                </a:lnTo>
                <a:cubicBezTo>
                  <a:pt x="165582" y="312500"/>
                  <a:pt x="160635" y="311049"/>
                  <a:pt x="155104" y="311049"/>
                </a:cubicBezTo>
                <a:close/>
                <a:moveTo>
                  <a:pt x="515953" y="308371"/>
                </a:moveTo>
                <a:lnTo>
                  <a:pt x="514416" y="310008"/>
                </a:lnTo>
                <a:lnTo>
                  <a:pt x="470171" y="356236"/>
                </a:lnTo>
                <a:lnTo>
                  <a:pt x="470171" y="314125"/>
                </a:lnTo>
                <a:lnTo>
                  <a:pt x="450826" y="314125"/>
                </a:lnTo>
                <a:lnTo>
                  <a:pt x="450826" y="433813"/>
                </a:lnTo>
                <a:lnTo>
                  <a:pt x="470171" y="433813"/>
                </a:lnTo>
                <a:lnTo>
                  <a:pt x="470171" y="384658"/>
                </a:lnTo>
                <a:lnTo>
                  <a:pt x="498245" y="354897"/>
                </a:lnTo>
                <a:cubicBezTo>
                  <a:pt x="498245" y="359212"/>
                  <a:pt x="501073" y="433763"/>
                  <a:pt x="501073" y="433763"/>
                </a:cubicBezTo>
                <a:lnTo>
                  <a:pt x="520914" y="433763"/>
                </a:lnTo>
                <a:close/>
                <a:moveTo>
                  <a:pt x="423595" y="308173"/>
                </a:moveTo>
                <a:lnTo>
                  <a:pt x="422058" y="309809"/>
                </a:lnTo>
                <a:lnTo>
                  <a:pt x="377813" y="356038"/>
                </a:lnTo>
                <a:lnTo>
                  <a:pt x="377813" y="313926"/>
                </a:lnTo>
                <a:lnTo>
                  <a:pt x="358469" y="313926"/>
                </a:lnTo>
                <a:lnTo>
                  <a:pt x="358469" y="433614"/>
                </a:lnTo>
                <a:lnTo>
                  <a:pt x="377813" y="433614"/>
                </a:lnTo>
                <a:lnTo>
                  <a:pt x="377813" y="384459"/>
                </a:lnTo>
                <a:lnTo>
                  <a:pt x="405888" y="354698"/>
                </a:lnTo>
                <a:lnTo>
                  <a:pt x="408715" y="433565"/>
                </a:lnTo>
                <a:lnTo>
                  <a:pt x="428556" y="433565"/>
                </a:lnTo>
                <a:close/>
                <a:moveTo>
                  <a:pt x="461739" y="158377"/>
                </a:moveTo>
                <a:lnTo>
                  <a:pt x="469774" y="158377"/>
                </a:lnTo>
                <a:cubicBezTo>
                  <a:pt x="474422" y="157898"/>
                  <a:pt x="478979" y="159894"/>
                  <a:pt x="481778" y="163634"/>
                </a:cubicBezTo>
                <a:cubicBezTo>
                  <a:pt x="484241" y="168757"/>
                  <a:pt x="485641" y="174325"/>
                  <a:pt x="485895" y="180003"/>
                </a:cubicBezTo>
                <a:lnTo>
                  <a:pt x="461094" y="180003"/>
                </a:lnTo>
                <a:close/>
                <a:moveTo>
                  <a:pt x="192404" y="155698"/>
                </a:moveTo>
                <a:cubicBezTo>
                  <a:pt x="197761" y="155698"/>
                  <a:pt x="202671" y="159418"/>
                  <a:pt x="205449" y="167107"/>
                </a:cubicBezTo>
                <a:cubicBezTo>
                  <a:pt x="208421" y="177041"/>
                  <a:pt x="209729" y="187399"/>
                  <a:pt x="209318" y="197760"/>
                </a:cubicBezTo>
                <a:cubicBezTo>
                  <a:pt x="209641" y="208457"/>
                  <a:pt x="208113" y="219129"/>
                  <a:pt x="204804" y="229306"/>
                </a:cubicBezTo>
                <a:lnTo>
                  <a:pt x="204754" y="229108"/>
                </a:lnTo>
                <a:cubicBezTo>
                  <a:pt x="201878" y="236896"/>
                  <a:pt x="197810" y="240666"/>
                  <a:pt x="192354" y="240666"/>
                </a:cubicBezTo>
                <a:cubicBezTo>
                  <a:pt x="186898" y="240666"/>
                  <a:pt x="183178" y="236846"/>
                  <a:pt x="180301" y="228910"/>
                </a:cubicBezTo>
                <a:cubicBezTo>
                  <a:pt x="177053" y="218957"/>
                  <a:pt x="175527" y="208524"/>
                  <a:pt x="175787" y="198058"/>
                </a:cubicBezTo>
                <a:cubicBezTo>
                  <a:pt x="175460" y="187511"/>
                  <a:pt x="176971" y="176987"/>
                  <a:pt x="180251" y="166958"/>
                </a:cubicBezTo>
                <a:cubicBezTo>
                  <a:pt x="183079" y="159369"/>
                  <a:pt x="187047" y="155698"/>
                  <a:pt x="192404" y="155698"/>
                </a:cubicBezTo>
                <a:close/>
                <a:moveTo>
                  <a:pt x="440609" y="138536"/>
                </a:moveTo>
                <a:lnTo>
                  <a:pt x="436541" y="258919"/>
                </a:lnTo>
                <a:lnTo>
                  <a:pt x="458664" y="258919"/>
                </a:lnTo>
                <a:lnTo>
                  <a:pt x="460796" y="199993"/>
                </a:lnTo>
                <a:lnTo>
                  <a:pt x="488425" y="199993"/>
                </a:lnTo>
                <a:lnTo>
                  <a:pt x="494625" y="258720"/>
                </a:lnTo>
                <a:lnTo>
                  <a:pt x="516945" y="258720"/>
                </a:lnTo>
                <a:lnTo>
                  <a:pt x="506727" y="170777"/>
                </a:lnTo>
                <a:cubicBezTo>
                  <a:pt x="507512" y="161003"/>
                  <a:pt x="503587" y="151440"/>
                  <a:pt x="496162" y="145034"/>
                </a:cubicBezTo>
                <a:cubicBezTo>
                  <a:pt x="489526" y="140357"/>
                  <a:pt x="481501" y="138066"/>
                  <a:pt x="473395" y="138536"/>
                </a:cubicBezTo>
                <a:close/>
                <a:moveTo>
                  <a:pt x="352517" y="138536"/>
                </a:moveTo>
                <a:lnTo>
                  <a:pt x="352517" y="158377"/>
                </a:lnTo>
                <a:lnTo>
                  <a:pt x="370869" y="158377"/>
                </a:lnTo>
                <a:lnTo>
                  <a:pt x="371067" y="258770"/>
                </a:lnTo>
                <a:lnTo>
                  <a:pt x="393190" y="258770"/>
                </a:lnTo>
                <a:lnTo>
                  <a:pt x="393190" y="158377"/>
                </a:lnTo>
                <a:lnTo>
                  <a:pt x="411840" y="158377"/>
                </a:lnTo>
                <a:lnTo>
                  <a:pt x="411840" y="138536"/>
                </a:lnTo>
                <a:close/>
                <a:moveTo>
                  <a:pt x="256141" y="138536"/>
                </a:moveTo>
                <a:lnTo>
                  <a:pt x="256141" y="172761"/>
                </a:lnTo>
                <a:cubicBezTo>
                  <a:pt x="256081" y="180446"/>
                  <a:pt x="259511" y="187744"/>
                  <a:pt x="265466" y="192602"/>
                </a:cubicBezTo>
                <a:cubicBezTo>
                  <a:pt x="271657" y="197904"/>
                  <a:pt x="279589" y="200731"/>
                  <a:pt x="287737" y="200538"/>
                </a:cubicBezTo>
                <a:lnTo>
                  <a:pt x="303858" y="200637"/>
                </a:lnTo>
                <a:lnTo>
                  <a:pt x="303858" y="258770"/>
                </a:lnTo>
                <a:lnTo>
                  <a:pt x="325980" y="258770"/>
                </a:lnTo>
                <a:lnTo>
                  <a:pt x="325980" y="138536"/>
                </a:lnTo>
                <a:lnTo>
                  <a:pt x="303858" y="138536"/>
                </a:lnTo>
                <a:lnTo>
                  <a:pt x="303858" y="180449"/>
                </a:lnTo>
                <a:lnTo>
                  <a:pt x="291805" y="180449"/>
                </a:lnTo>
                <a:cubicBezTo>
                  <a:pt x="287838" y="180773"/>
                  <a:pt x="283898" y="179566"/>
                  <a:pt x="280793" y="177077"/>
                </a:cubicBezTo>
                <a:cubicBezTo>
                  <a:pt x="279054" y="175396"/>
                  <a:pt x="278131" y="173043"/>
                  <a:pt x="278263" y="170629"/>
                </a:cubicBezTo>
                <a:lnTo>
                  <a:pt x="278264" y="138536"/>
                </a:lnTo>
                <a:close/>
                <a:moveTo>
                  <a:pt x="52676" y="138536"/>
                </a:moveTo>
                <a:lnTo>
                  <a:pt x="52676" y="258919"/>
                </a:lnTo>
                <a:lnTo>
                  <a:pt x="74799" y="258919"/>
                </a:lnTo>
                <a:lnTo>
                  <a:pt x="74799" y="158377"/>
                </a:lnTo>
                <a:lnTo>
                  <a:pt x="101980" y="158377"/>
                </a:lnTo>
                <a:lnTo>
                  <a:pt x="101980" y="258720"/>
                </a:lnTo>
                <a:lnTo>
                  <a:pt x="124102" y="258720"/>
                </a:lnTo>
                <a:lnTo>
                  <a:pt x="124102" y="138536"/>
                </a:lnTo>
                <a:close/>
                <a:moveTo>
                  <a:pt x="192354" y="135114"/>
                </a:moveTo>
                <a:cubicBezTo>
                  <a:pt x="180470" y="135160"/>
                  <a:pt x="169652" y="141974"/>
                  <a:pt x="164478" y="152673"/>
                </a:cubicBezTo>
                <a:cubicBezTo>
                  <a:pt x="157317" y="166552"/>
                  <a:pt x="153897" y="182057"/>
                  <a:pt x="154558" y="197661"/>
                </a:cubicBezTo>
                <a:cubicBezTo>
                  <a:pt x="153838" y="213506"/>
                  <a:pt x="157094" y="229279"/>
                  <a:pt x="164032" y="243542"/>
                </a:cubicBezTo>
                <a:cubicBezTo>
                  <a:pt x="169242" y="254410"/>
                  <a:pt x="180304" y="261248"/>
                  <a:pt x="192354" y="261051"/>
                </a:cubicBezTo>
                <a:cubicBezTo>
                  <a:pt x="204885" y="261056"/>
                  <a:pt x="216329" y="253939"/>
                  <a:pt x="221867" y="242699"/>
                </a:cubicBezTo>
                <a:cubicBezTo>
                  <a:pt x="229053" y="228740"/>
                  <a:pt x="232472" y="213148"/>
                  <a:pt x="231787" y="197463"/>
                </a:cubicBezTo>
                <a:cubicBezTo>
                  <a:pt x="232469" y="181854"/>
                  <a:pt x="228939" y="166350"/>
                  <a:pt x="221569" y="152574"/>
                </a:cubicBezTo>
                <a:cubicBezTo>
                  <a:pt x="215885" y="141727"/>
                  <a:pt x="204599" y="134982"/>
                  <a:pt x="192354" y="135114"/>
                </a:cubicBezTo>
                <a:close/>
                <a:moveTo>
                  <a:pt x="22569" y="0"/>
                </a:moveTo>
                <a:lnTo>
                  <a:pt x="550377" y="0"/>
                </a:lnTo>
                <a:cubicBezTo>
                  <a:pt x="562841" y="0"/>
                  <a:pt x="572945" y="10104"/>
                  <a:pt x="572945" y="22569"/>
                </a:cubicBezTo>
                <a:lnTo>
                  <a:pt x="572945" y="550425"/>
                </a:lnTo>
                <a:cubicBezTo>
                  <a:pt x="572945" y="562890"/>
                  <a:pt x="562841" y="572994"/>
                  <a:pt x="550377" y="572994"/>
                </a:cubicBezTo>
                <a:lnTo>
                  <a:pt x="22569" y="572994"/>
                </a:lnTo>
                <a:cubicBezTo>
                  <a:pt x="10104" y="572994"/>
                  <a:pt x="0" y="562890"/>
                  <a:pt x="0" y="550425"/>
                </a:cubicBezTo>
                <a:lnTo>
                  <a:pt x="0" y="22569"/>
                </a:lnTo>
                <a:cubicBezTo>
                  <a:pt x="0" y="10104"/>
                  <a:pt x="10104" y="0"/>
                  <a:pt x="22569" y="0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grpSp>
        <p:nvGrpSpPr>
          <p:cNvPr id="12" name="Группа 11">
            <a:extLst>
              <a:ext uri="{FF2B5EF4-FFF2-40B4-BE49-F238E27FC236}">
                <a16:creationId xmlns="" xmlns:a16="http://schemas.microsoft.com/office/drawing/2014/main" id="{6DF10E03-D8B7-475D-9FF1-0C8711776765}"/>
              </a:ext>
            </a:extLst>
          </p:cNvPr>
          <p:cNvGrpSpPr/>
          <p:nvPr userDrawn="1"/>
        </p:nvGrpSpPr>
        <p:grpSpPr>
          <a:xfrm rot="5400000">
            <a:off x="-1060690" y="461365"/>
            <a:ext cx="1291830" cy="369097"/>
            <a:chOff x="632155" y="5349213"/>
            <a:chExt cx="3360373" cy="960114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="" xmlns:a16="http://schemas.microsoft.com/office/drawing/2014/main" id="{D9F89A19-8FF0-4AD6-84DC-15F7D2823D9F}"/>
                </a:ext>
              </a:extLst>
            </p:cNvPr>
            <p:cNvSpPr/>
            <p:nvPr/>
          </p:nvSpPr>
          <p:spPr>
            <a:xfrm>
              <a:off x="632155" y="5349213"/>
              <a:ext cx="960107" cy="96010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="" xmlns:a16="http://schemas.microsoft.com/office/drawing/2014/main" id="{B0C8A7AC-8680-4534-BD64-805C00F4F62C}"/>
                </a:ext>
              </a:extLst>
            </p:cNvPr>
            <p:cNvSpPr/>
            <p:nvPr/>
          </p:nvSpPr>
          <p:spPr>
            <a:xfrm>
              <a:off x="1592261" y="5349213"/>
              <a:ext cx="960107" cy="960107"/>
            </a:xfrm>
            <a:prstGeom prst="rect">
              <a:avLst/>
            </a:prstGeom>
            <a:solidFill>
              <a:srgbClr val="2C56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="" xmlns:a16="http://schemas.microsoft.com/office/drawing/2014/main" id="{BF9AC991-6489-4D85-88A0-AB74120BD878}"/>
                </a:ext>
              </a:extLst>
            </p:cNvPr>
            <p:cNvSpPr/>
            <p:nvPr/>
          </p:nvSpPr>
          <p:spPr>
            <a:xfrm>
              <a:off x="2552368" y="5349213"/>
              <a:ext cx="960106" cy="96010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indent="0" algn="ctr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="" xmlns:a16="http://schemas.microsoft.com/office/drawing/2014/main" id="{9E5C4358-A558-462E-821F-2A9AC3310A75}"/>
                </a:ext>
              </a:extLst>
            </p:cNvPr>
            <p:cNvSpPr/>
            <p:nvPr/>
          </p:nvSpPr>
          <p:spPr>
            <a:xfrm>
              <a:off x="3512475" y="5349213"/>
              <a:ext cx="480053" cy="48005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="" xmlns:a16="http://schemas.microsoft.com/office/drawing/2014/main" id="{33097FA4-EB1E-4798-826F-7F4B8336D5AB}"/>
                </a:ext>
              </a:extLst>
            </p:cNvPr>
            <p:cNvSpPr/>
            <p:nvPr/>
          </p:nvSpPr>
          <p:spPr>
            <a:xfrm>
              <a:off x="3512475" y="5829274"/>
              <a:ext cx="480053" cy="4800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="" xmlns:a16="http://schemas.microsoft.com/office/drawing/2014/main" id="{3C5996F1-2B61-4AE5-AF41-332CAFC897E4}"/>
              </a:ext>
            </a:extLst>
          </p:cNvPr>
          <p:cNvGrpSpPr/>
          <p:nvPr userDrawn="1"/>
        </p:nvGrpSpPr>
        <p:grpSpPr>
          <a:xfrm rot="5400000">
            <a:off x="-1337511" y="2738906"/>
            <a:ext cx="1845470" cy="369094"/>
            <a:chOff x="6299597" y="4435281"/>
            <a:chExt cx="4800534" cy="960107"/>
          </a:xfrm>
        </p:grpSpPr>
        <p:sp>
          <p:nvSpPr>
            <p:cNvPr id="5" name="Прямоугольник 4">
              <a:extLst>
                <a:ext uri="{FF2B5EF4-FFF2-40B4-BE49-F238E27FC236}">
                  <a16:creationId xmlns="" xmlns:a16="http://schemas.microsoft.com/office/drawing/2014/main" id="{429A1F8A-1A56-4935-B69D-2E06148044B9}"/>
                </a:ext>
              </a:extLst>
            </p:cNvPr>
            <p:cNvSpPr/>
            <p:nvPr userDrawn="1"/>
          </p:nvSpPr>
          <p:spPr>
            <a:xfrm>
              <a:off x="6299597" y="4435281"/>
              <a:ext cx="960107" cy="960107"/>
            </a:xfrm>
            <a:prstGeom prst="rect">
              <a:avLst/>
            </a:prstGeom>
            <a:solidFill>
              <a:srgbClr val="B915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="" xmlns:a16="http://schemas.microsoft.com/office/drawing/2014/main" id="{73B9C65B-ED67-478C-821E-9FDFF1AAB054}"/>
                </a:ext>
              </a:extLst>
            </p:cNvPr>
            <p:cNvSpPr/>
            <p:nvPr userDrawn="1"/>
          </p:nvSpPr>
          <p:spPr>
            <a:xfrm>
              <a:off x="7259704" y="4435281"/>
              <a:ext cx="960106" cy="960107"/>
            </a:xfrm>
            <a:prstGeom prst="rect">
              <a:avLst/>
            </a:prstGeom>
            <a:solidFill>
              <a:srgbClr val="6ACC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2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="" xmlns:a16="http://schemas.microsoft.com/office/drawing/2014/main" id="{1896F241-6987-4A62-9C87-5EEA8CEB2403}"/>
                </a:ext>
              </a:extLst>
            </p:cNvPr>
            <p:cNvSpPr/>
            <p:nvPr userDrawn="1"/>
          </p:nvSpPr>
          <p:spPr>
            <a:xfrm>
              <a:off x="8219810" y="4435281"/>
              <a:ext cx="960107" cy="960107"/>
            </a:xfrm>
            <a:prstGeom prst="rect">
              <a:avLst/>
            </a:prstGeom>
            <a:solidFill>
              <a:srgbClr val="6597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="" xmlns:a16="http://schemas.microsoft.com/office/drawing/2014/main" id="{212B7325-9FD5-4022-A162-DE0C1D462D20}"/>
                </a:ext>
              </a:extLst>
            </p:cNvPr>
            <p:cNvSpPr/>
            <p:nvPr userDrawn="1"/>
          </p:nvSpPr>
          <p:spPr>
            <a:xfrm>
              <a:off x="9179917" y="4435281"/>
              <a:ext cx="960107" cy="960107"/>
            </a:xfrm>
            <a:prstGeom prst="rect">
              <a:avLst/>
            </a:prstGeom>
            <a:solidFill>
              <a:srgbClr val="FFEE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="" xmlns:a16="http://schemas.microsoft.com/office/drawing/2014/main" id="{C7B286C2-D508-40D3-B6A4-C4C39039C53C}"/>
                </a:ext>
              </a:extLst>
            </p:cNvPr>
            <p:cNvSpPr/>
            <p:nvPr userDrawn="1"/>
          </p:nvSpPr>
          <p:spPr>
            <a:xfrm>
              <a:off x="10140024" y="4435281"/>
              <a:ext cx="960107" cy="960107"/>
            </a:xfrm>
            <a:prstGeom prst="rect">
              <a:avLst/>
            </a:prstGeom>
            <a:solidFill>
              <a:srgbClr val="B07A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="" xmlns:a16="http://schemas.microsoft.com/office/drawing/2014/main" id="{B7241A15-C67E-4898-8103-7CD4FFB3557F}"/>
                </a:ext>
              </a:extLst>
            </p:cNvPr>
            <p:cNvSpPr/>
            <p:nvPr userDrawn="1"/>
          </p:nvSpPr>
          <p:spPr>
            <a:xfrm>
              <a:off x="7739756" y="4435281"/>
              <a:ext cx="480053" cy="960107"/>
            </a:xfrm>
            <a:prstGeom prst="rect">
              <a:avLst/>
            </a:prstGeom>
            <a:solidFill>
              <a:srgbClr val="3EBB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9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1948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4005" r:id="rId2"/>
    <p:sldLayoutId id="2147483996" r:id="rId3"/>
    <p:sldLayoutId id="2147483997" r:id="rId4"/>
    <p:sldLayoutId id="2147483999" r:id="rId5"/>
    <p:sldLayoutId id="2147484000" r:id="rId6"/>
    <p:sldLayoutId id="2147484003" r:id="rId7"/>
    <p:sldLayoutId id="2147483998" r:id="rId8"/>
    <p:sldLayoutId id="2147484001" r:id="rId9"/>
    <p:sldLayoutId id="2147484002" r:id="rId10"/>
    <p:sldLayoutId id="2147483993" r:id="rId11"/>
    <p:sldLayoutId id="2147484004" r:id="rId12"/>
    <p:sldLayoutId id="2147483899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400" b="0" kern="120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A4A3A4"/>
          </p15:clr>
        </p15:guide>
        <p15:guide id="2" pos="7333">
          <p15:clr>
            <a:srgbClr val="A4A3A4"/>
          </p15:clr>
        </p15:guide>
        <p15:guide id="3" orient="horz" pos="4042">
          <p15:clr>
            <a:srgbClr val="A4A3A4"/>
          </p15:clr>
        </p15:guide>
        <p15:guide id="4" orient="horz" pos="799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>
            <a:extLst>
              <a:ext uri="{FF2B5EF4-FFF2-40B4-BE49-F238E27FC236}">
                <a16:creationId xmlns="" xmlns:a16="http://schemas.microsoft.com/office/drawing/2014/main" id="{8ED20E1C-C2AC-47B6-A9D5-386EDD1207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31448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15" name="Слайд think-cell" r:id="rId20" imgW="306" imgH="306" progId="TCLayout.ActiveDocument.1">
                  <p:embed/>
                </p:oleObj>
              </mc:Choice>
              <mc:Fallback>
                <p:oleObj name="Слайд think-cell" r:id="rId20" imgW="306" imgH="306" progId="TCLayout.ActiveDocument.1">
                  <p:embed/>
                  <p:pic>
                    <p:nvPicPr>
                      <p:cNvPr id="17" name="Объект 16" hidden="1">
                        <a:extLst>
                          <a:ext uri="{FF2B5EF4-FFF2-40B4-BE49-F238E27FC236}">
                            <a16:creationId xmlns="" xmlns:a16="http://schemas.microsoft.com/office/drawing/2014/main" id="{8ED20E1C-C2AC-47B6-A9D5-386EDD1207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="" xmlns:a16="http://schemas.microsoft.com/office/drawing/2014/main" id="{2AA804D6-88E7-49FD-8418-271D8192B7C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E5F3BBA-3540-4D8B-86D3-003119364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296921"/>
            <a:ext cx="10294938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ru-RU" dirty="0">
                <a:latin typeface="+mn-lt"/>
              </a:rPr>
              <a:t>Заголовок слайда</a:t>
            </a:r>
            <a:br>
              <a:rPr lang="ru-RU" dirty="0">
                <a:latin typeface="+mn-lt"/>
              </a:rPr>
            </a:br>
            <a:r>
              <a:rPr lang="ru-RU" dirty="0">
                <a:latin typeface="+mn-lt"/>
              </a:rPr>
              <a:t>в две строки</a:t>
            </a: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E4A3F89A-046D-4334-8CC3-6D11B30513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044" y="655721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9D5186-85BD-4647-9A01-8226F56382D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="" xmlns:a16="http://schemas.microsoft.com/office/drawing/2014/main" id="{5B86D7C7-2CF5-4874-85B5-D8A21EFB1EF2}"/>
              </a:ext>
            </a:extLst>
          </p:cNvPr>
          <p:cNvSpPr/>
          <p:nvPr/>
        </p:nvSpPr>
        <p:spPr>
          <a:xfrm>
            <a:off x="11010898" y="382414"/>
            <a:ext cx="630240" cy="630293"/>
          </a:xfrm>
          <a:custGeom>
            <a:avLst/>
            <a:gdLst>
              <a:gd name="connsiteX0" fmla="*/ 72368 w 572945"/>
              <a:gd name="connsiteY0" fmla="*/ 331981 h 572994"/>
              <a:gd name="connsiteX1" fmla="*/ 73162 w 572945"/>
              <a:gd name="connsiteY1" fmla="*/ 331981 h 572994"/>
              <a:gd name="connsiteX2" fmla="*/ 83827 w 572945"/>
              <a:gd name="connsiteY2" fmla="*/ 339670 h 572994"/>
              <a:gd name="connsiteX3" fmla="*/ 87844 w 572945"/>
              <a:gd name="connsiteY3" fmla="*/ 365115 h 572994"/>
              <a:gd name="connsiteX4" fmla="*/ 85165 w 572945"/>
              <a:gd name="connsiteY4" fmla="*/ 379251 h 572994"/>
              <a:gd name="connsiteX5" fmla="*/ 79660 w 572945"/>
              <a:gd name="connsiteY5" fmla="*/ 383864 h 572994"/>
              <a:gd name="connsiteX6" fmla="*/ 74700 w 572945"/>
              <a:gd name="connsiteY6" fmla="*/ 379797 h 572994"/>
              <a:gd name="connsiteX7" fmla="*/ 72368 w 572945"/>
              <a:gd name="connsiteY7" fmla="*/ 367148 h 572994"/>
              <a:gd name="connsiteX8" fmla="*/ 155153 w 572945"/>
              <a:gd name="connsiteY8" fmla="*/ 330394 h 572994"/>
              <a:gd name="connsiteX9" fmla="*/ 167057 w 572945"/>
              <a:gd name="connsiteY9" fmla="*/ 342100 h 572994"/>
              <a:gd name="connsiteX10" fmla="*/ 170530 w 572945"/>
              <a:gd name="connsiteY10" fmla="*/ 372952 h 572994"/>
              <a:gd name="connsiteX11" fmla="*/ 166462 w 572945"/>
              <a:gd name="connsiteY11" fmla="*/ 404746 h 572994"/>
              <a:gd name="connsiteX12" fmla="*/ 155153 w 572945"/>
              <a:gd name="connsiteY12" fmla="*/ 416601 h 572994"/>
              <a:gd name="connsiteX13" fmla="*/ 144092 w 572945"/>
              <a:gd name="connsiteY13" fmla="*/ 404598 h 572994"/>
              <a:gd name="connsiteX14" fmla="*/ 140025 w 572945"/>
              <a:gd name="connsiteY14" fmla="*/ 373250 h 572994"/>
              <a:gd name="connsiteX15" fmla="*/ 144042 w 572945"/>
              <a:gd name="connsiteY15" fmla="*/ 341951 h 572994"/>
              <a:gd name="connsiteX16" fmla="*/ 155153 w 572945"/>
              <a:gd name="connsiteY16" fmla="*/ 330394 h 572994"/>
              <a:gd name="connsiteX17" fmla="*/ 52379 w 572945"/>
              <a:gd name="connsiteY17" fmla="*/ 314125 h 572994"/>
              <a:gd name="connsiteX18" fmla="*/ 52379 w 572945"/>
              <a:gd name="connsiteY18" fmla="*/ 433515 h 572994"/>
              <a:gd name="connsiteX19" fmla="*/ 72220 w 572945"/>
              <a:gd name="connsiteY19" fmla="*/ 433515 h 572994"/>
              <a:gd name="connsiteX20" fmla="*/ 72220 w 572945"/>
              <a:gd name="connsiteY20" fmla="*/ 398794 h 572994"/>
              <a:gd name="connsiteX21" fmla="*/ 97189 w 572945"/>
              <a:gd name="connsiteY21" fmla="*/ 399149 h 572994"/>
              <a:gd name="connsiteX22" fmla="*/ 100939 w 572945"/>
              <a:gd name="connsiteY22" fmla="*/ 393834 h 572994"/>
              <a:gd name="connsiteX23" fmla="*/ 108032 w 572945"/>
              <a:gd name="connsiteY23" fmla="*/ 360105 h 572994"/>
              <a:gd name="connsiteX24" fmla="*/ 102328 w 572945"/>
              <a:gd name="connsiteY24" fmla="*/ 332824 h 572994"/>
              <a:gd name="connsiteX25" fmla="*/ 73063 w 572945"/>
              <a:gd name="connsiteY25" fmla="*/ 314125 h 572994"/>
              <a:gd name="connsiteX26" fmla="*/ 338331 w 572945"/>
              <a:gd name="connsiteY26" fmla="*/ 311049 h 572994"/>
              <a:gd name="connsiteX27" fmla="*/ 293689 w 572945"/>
              <a:gd name="connsiteY27" fmla="*/ 329154 h 572994"/>
              <a:gd name="connsiteX28" fmla="*/ 279752 w 572945"/>
              <a:gd name="connsiteY28" fmla="*/ 374192 h 572994"/>
              <a:gd name="connsiteX29" fmla="*/ 294880 w 572945"/>
              <a:gd name="connsiteY29" fmla="*/ 419081 h 572994"/>
              <a:gd name="connsiteX30" fmla="*/ 338678 w 572945"/>
              <a:gd name="connsiteY30" fmla="*/ 437185 h 572994"/>
              <a:gd name="connsiteX31" fmla="*/ 339621 w 572945"/>
              <a:gd name="connsiteY31" fmla="*/ 437185 h 572994"/>
              <a:gd name="connsiteX32" fmla="*/ 339621 w 572945"/>
              <a:gd name="connsiteY32" fmla="*/ 416303 h 572994"/>
              <a:gd name="connsiteX33" fmla="*/ 338678 w 572945"/>
              <a:gd name="connsiteY33" fmla="*/ 416303 h 572994"/>
              <a:gd name="connsiteX34" fmla="*/ 309860 w 572945"/>
              <a:gd name="connsiteY34" fmla="*/ 404002 h 572994"/>
              <a:gd name="connsiteX35" fmla="*/ 310108 w 572945"/>
              <a:gd name="connsiteY35" fmla="*/ 404002 h 572994"/>
              <a:gd name="connsiteX36" fmla="*/ 309661 w 572945"/>
              <a:gd name="connsiteY36" fmla="*/ 344084 h 572994"/>
              <a:gd name="connsiteX37" fmla="*/ 338331 w 572945"/>
              <a:gd name="connsiteY37" fmla="*/ 331932 h 572994"/>
              <a:gd name="connsiteX38" fmla="*/ 339273 w 572945"/>
              <a:gd name="connsiteY38" fmla="*/ 331932 h 572994"/>
              <a:gd name="connsiteX39" fmla="*/ 339273 w 572945"/>
              <a:gd name="connsiteY39" fmla="*/ 311049 h 572994"/>
              <a:gd name="connsiteX40" fmla="*/ 263929 w 572945"/>
              <a:gd name="connsiteY40" fmla="*/ 311049 h 572994"/>
              <a:gd name="connsiteX41" fmla="*/ 219287 w 572945"/>
              <a:gd name="connsiteY41" fmla="*/ 329154 h 572994"/>
              <a:gd name="connsiteX42" fmla="*/ 205350 w 572945"/>
              <a:gd name="connsiteY42" fmla="*/ 374192 h 572994"/>
              <a:gd name="connsiteX43" fmla="*/ 220478 w 572945"/>
              <a:gd name="connsiteY43" fmla="*/ 419081 h 572994"/>
              <a:gd name="connsiteX44" fmla="*/ 264276 w 572945"/>
              <a:gd name="connsiteY44" fmla="*/ 437185 h 572994"/>
              <a:gd name="connsiteX45" fmla="*/ 265218 w 572945"/>
              <a:gd name="connsiteY45" fmla="*/ 437185 h 572994"/>
              <a:gd name="connsiteX46" fmla="*/ 265218 w 572945"/>
              <a:gd name="connsiteY46" fmla="*/ 416303 h 572994"/>
              <a:gd name="connsiteX47" fmla="*/ 264276 w 572945"/>
              <a:gd name="connsiteY47" fmla="*/ 416303 h 572994"/>
              <a:gd name="connsiteX48" fmla="*/ 235904 w 572945"/>
              <a:gd name="connsiteY48" fmla="*/ 404002 h 572994"/>
              <a:gd name="connsiteX49" fmla="*/ 235706 w 572945"/>
              <a:gd name="connsiteY49" fmla="*/ 404002 h 572994"/>
              <a:gd name="connsiteX50" fmla="*/ 235259 w 572945"/>
              <a:gd name="connsiteY50" fmla="*/ 344084 h 572994"/>
              <a:gd name="connsiteX51" fmla="*/ 263929 w 572945"/>
              <a:gd name="connsiteY51" fmla="*/ 331932 h 572994"/>
              <a:gd name="connsiteX52" fmla="*/ 264871 w 572945"/>
              <a:gd name="connsiteY52" fmla="*/ 331932 h 572994"/>
              <a:gd name="connsiteX53" fmla="*/ 264871 w 572945"/>
              <a:gd name="connsiteY53" fmla="*/ 311049 h 572994"/>
              <a:gd name="connsiteX54" fmla="*/ 155104 w 572945"/>
              <a:gd name="connsiteY54" fmla="*/ 311049 h 572994"/>
              <a:gd name="connsiteX55" fmla="*/ 130303 w 572945"/>
              <a:gd name="connsiteY55" fmla="*/ 328410 h 572994"/>
              <a:gd name="connsiteX56" fmla="*/ 121474 w 572945"/>
              <a:gd name="connsiteY56" fmla="*/ 373051 h 572994"/>
              <a:gd name="connsiteX57" fmla="*/ 129906 w 572945"/>
              <a:gd name="connsiteY57" fmla="*/ 418635 h 572994"/>
              <a:gd name="connsiteX58" fmla="*/ 155054 w 572945"/>
              <a:gd name="connsiteY58" fmla="*/ 435896 h 572994"/>
              <a:gd name="connsiteX59" fmla="*/ 181293 w 572945"/>
              <a:gd name="connsiteY59" fmla="*/ 417791 h 572994"/>
              <a:gd name="connsiteX60" fmla="*/ 190122 w 572945"/>
              <a:gd name="connsiteY60" fmla="*/ 372853 h 572994"/>
              <a:gd name="connsiteX61" fmla="*/ 181006 w 572945"/>
              <a:gd name="connsiteY61" fmla="*/ 328265 h 572994"/>
              <a:gd name="connsiteX62" fmla="*/ 181045 w 572945"/>
              <a:gd name="connsiteY62" fmla="*/ 328311 h 572994"/>
              <a:gd name="connsiteX63" fmla="*/ 180995 w 572945"/>
              <a:gd name="connsiteY63" fmla="*/ 328212 h 572994"/>
              <a:gd name="connsiteX64" fmla="*/ 181006 w 572945"/>
              <a:gd name="connsiteY64" fmla="*/ 328265 h 572994"/>
              <a:gd name="connsiteX65" fmla="*/ 169916 w 572945"/>
              <a:gd name="connsiteY65" fmla="*/ 315383 h 572994"/>
              <a:gd name="connsiteX66" fmla="*/ 155104 w 572945"/>
              <a:gd name="connsiteY66" fmla="*/ 311049 h 572994"/>
              <a:gd name="connsiteX67" fmla="*/ 515953 w 572945"/>
              <a:gd name="connsiteY67" fmla="*/ 308371 h 572994"/>
              <a:gd name="connsiteX68" fmla="*/ 514416 w 572945"/>
              <a:gd name="connsiteY68" fmla="*/ 310008 h 572994"/>
              <a:gd name="connsiteX69" fmla="*/ 470171 w 572945"/>
              <a:gd name="connsiteY69" fmla="*/ 356236 h 572994"/>
              <a:gd name="connsiteX70" fmla="*/ 470171 w 572945"/>
              <a:gd name="connsiteY70" fmla="*/ 314125 h 572994"/>
              <a:gd name="connsiteX71" fmla="*/ 450826 w 572945"/>
              <a:gd name="connsiteY71" fmla="*/ 314125 h 572994"/>
              <a:gd name="connsiteX72" fmla="*/ 450826 w 572945"/>
              <a:gd name="connsiteY72" fmla="*/ 433813 h 572994"/>
              <a:gd name="connsiteX73" fmla="*/ 470171 w 572945"/>
              <a:gd name="connsiteY73" fmla="*/ 433813 h 572994"/>
              <a:gd name="connsiteX74" fmla="*/ 470171 w 572945"/>
              <a:gd name="connsiteY74" fmla="*/ 384658 h 572994"/>
              <a:gd name="connsiteX75" fmla="*/ 498245 w 572945"/>
              <a:gd name="connsiteY75" fmla="*/ 354897 h 572994"/>
              <a:gd name="connsiteX76" fmla="*/ 501073 w 572945"/>
              <a:gd name="connsiteY76" fmla="*/ 433763 h 572994"/>
              <a:gd name="connsiteX77" fmla="*/ 520914 w 572945"/>
              <a:gd name="connsiteY77" fmla="*/ 433763 h 572994"/>
              <a:gd name="connsiteX78" fmla="*/ 423595 w 572945"/>
              <a:gd name="connsiteY78" fmla="*/ 308173 h 572994"/>
              <a:gd name="connsiteX79" fmla="*/ 422058 w 572945"/>
              <a:gd name="connsiteY79" fmla="*/ 309809 h 572994"/>
              <a:gd name="connsiteX80" fmla="*/ 377813 w 572945"/>
              <a:gd name="connsiteY80" fmla="*/ 356038 h 572994"/>
              <a:gd name="connsiteX81" fmla="*/ 377813 w 572945"/>
              <a:gd name="connsiteY81" fmla="*/ 313926 h 572994"/>
              <a:gd name="connsiteX82" fmla="*/ 358469 w 572945"/>
              <a:gd name="connsiteY82" fmla="*/ 313926 h 572994"/>
              <a:gd name="connsiteX83" fmla="*/ 358469 w 572945"/>
              <a:gd name="connsiteY83" fmla="*/ 433614 h 572994"/>
              <a:gd name="connsiteX84" fmla="*/ 377813 w 572945"/>
              <a:gd name="connsiteY84" fmla="*/ 433614 h 572994"/>
              <a:gd name="connsiteX85" fmla="*/ 377813 w 572945"/>
              <a:gd name="connsiteY85" fmla="*/ 384459 h 572994"/>
              <a:gd name="connsiteX86" fmla="*/ 405888 w 572945"/>
              <a:gd name="connsiteY86" fmla="*/ 354698 h 572994"/>
              <a:gd name="connsiteX87" fmla="*/ 408715 w 572945"/>
              <a:gd name="connsiteY87" fmla="*/ 433565 h 572994"/>
              <a:gd name="connsiteX88" fmla="*/ 428556 w 572945"/>
              <a:gd name="connsiteY88" fmla="*/ 433565 h 572994"/>
              <a:gd name="connsiteX89" fmla="*/ 461739 w 572945"/>
              <a:gd name="connsiteY89" fmla="*/ 158377 h 572994"/>
              <a:gd name="connsiteX90" fmla="*/ 469774 w 572945"/>
              <a:gd name="connsiteY90" fmla="*/ 158377 h 572994"/>
              <a:gd name="connsiteX91" fmla="*/ 481778 w 572945"/>
              <a:gd name="connsiteY91" fmla="*/ 163634 h 572994"/>
              <a:gd name="connsiteX92" fmla="*/ 485895 w 572945"/>
              <a:gd name="connsiteY92" fmla="*/ 180003 h 572994"/>
              <a:gd name="connsiteX93" fmla="*/ 461094 w 572945"/>
              <a:gd name="connsiteY93" fmla="*/ 180003 h 572994"/>
              <a:gd name="connsiteX94" fmla="*/ 192404 w 572945"/>
              <a:gd name="connsiteY94" fmla="*/ 155698 h 572994"/>
              <a:gd name="connsiteX95" fmla="*/ 205449 w 572945"/>
              <a:gd name="connsiteY95" fmla="*/ 167107 h 572994"/>
              <a:gd name="connsiteX96" fmla="*/ 209318 w 572945"/>
              <a:gd name="connsiteY96" fmla="*/ 197760 h 572994"/>
              <a:gd name="connsiteX97" fmla="*/ 204804 w 572945"/>
              <a:gd name="connsiteY97" fmla="*/ 229306 h 572994"/>
              <a:gd name="connsiteX98" fmla="*/ 204754 w 572945"/>
              <a:gd name="connsiteY98" fmla="*/ 229108 h 572994"/>
              <a:gd name="connsiteX99" fmla="*/ 192354 w 572945"/>
              <a:gd name="connsiteY99" fmla="*/ 240666 h 572994"/>
              <a:gd name="connsiteX100" fmla="*/ 180301 w 572945"/>
              <a:gd name="connsiteY100" fmla="*/ 228910 h 572994"/>
              <a:gd name="connsiteX101" fmla="*/ 175787 w 572945"/>
              <a:gd name="connsiteY101" fmla="*/ 198058 h 572994"/>
              <a:gd name="connsiteX102" fmla="*/ 180251 w 572945"/>
              <a:gd name="connsiteY102" fmla="*/ 166958 h 572994"/>
              <a:gd name="connsiteX103" fmla="*/ 192404 w 572945"/>
              <a:gd name="connsiteY103" fmla="*/ 155698 h 572994"/>
              <a:gd name="connsiteX104" fmla="*/ 440609 w 572945"/>
              <a:gd name="connsiteY104" fmla="*/ 138536 h 572994"/>
              <a:gd name="connsiteX105" fmla="*/ 436541 w 572945"/>
              <a:gd name="connsiteY105" fmla="*/ 258919 h 572994"/>
              <a:gd name="connsiteX106" fmla="*/ 458664 w 572945"/>
              <a:gd name="connsiteY106" fmla="*/ 258919 h 572994"/>
              <a:gd name="connsiteX107" fmla="*/ 460796 w 572945"/>
              <a:gd name="connsiteY107" fmla="*/ 199993 h 572994"/>
              <a:gd name="connsiteX108" fmla="*/ 488425 w 572945"/>
              <a:gd name="connsiteY108" fmla="*/ 199993 h 572994"/>
              <a:gd name="connsiteX109" fmla="*/ 494625 w 572945"/>
              <a:gd name="connsiteY109" fmla="*/ 258720 h 572994"/>
              <a:gd name="connsiteX110" fmla="*/ 516945 w 572945"/>
              <a:gd name="connsiteY110" fmla="*/ 258720 h 572994"/>
              <a:gd name="connsiteX111" fmla="*/ 506727 w 572945"/>
              <a:gd name="connsiteY111" fmla="*/ 170777 h 572994"/>
              <a:gd name="connsiteX112" fmla="*/ 496162 w 572945"/>
              <a:gd name="connsiteY112" fmla="*/ 145034 h 572994"/>
              <a:gd name="connsiteX113" fmla="*/ 473395 w 572945"/>
              <a:gd name="connsiteY113" fmla="*/ 138536 h 572994"/>
              <a:gd name="connsiteX114" fmla="*/ 352517 w 572945"/>
              <a:gd name="connsiteY114" fmla="*/ 138536 h 572994"/>
              <a:gd name="connsiteX115" fmla="*/ 352517 w 572945"/>
              <a:gd name="connsiteY115" fmla="*/ 158377 h 572994"/>
              <a:gd name="connsiteX116" fmla="*/ 370869 w 572945"/>
              <a:gd name="connsiteY116" fmla="*/ 158377 h 572994"/>
              <a:gd name="connsiteX117" fmla="*/ 371067 w 572945"/>
              <a:gd name="connsiteY117" fmla="*/ 258770 h 572994"/>
              <a:gd name="connsiteX118" fmla="*/ 393190 w 572945"/>
              <a:gd name="connsiteY118" fmla="*/ 258770 h 572994"/>
              <a:gd name="connsiteX119" fmla="*/ 393190 w 572945"/>
              <a:gd name="connsiteY119" fmla="*/ 158377 h 572994"/>
              <a:gd name="connsiteX120" fmla="*/ 411840 w 572945"/>
              <a:gd name="connsiteY120" fmla="*/ 158377 h 572994"/>
              <a:gd name="connsiteX121" fmla="*/ 411840 w 572945"/>
              <a:gd name="connsiteY121" fmla="*/ 138536 h 572994"/>
              <a:gd name="connsiteX122" fmla="*/ 256141 w 572945"/>
              <a:gd name="connsiteY122" fmla="*/ 138536 h 572994"/>
              <a:gd name="connsiteX123" fmla="*/ 256141 w 572945"/>
              <a:gd name="connsiteY123" fmla="*/ 172761 h 572994"/>
              <a:gd name="connsiteX124" fmla="*/ 265466 w 572945"/>
              <a:gd name="connsiteY124" fmla="*/ 192602 h 572994"/>
              <a:gd name="connsiteX125" fmla="*/ 287737 w 572945"/>
              <a:gd name="connsiteY125" fmla="*/ 200538 h 572994"/>
              <a:gd name="connsiteX126" fmla="*/ 303858 w 572945"/>
              <a:gd name="connsiteY126" fmla="*/ 200637 h 572994"/>
              <a:gd name="connsiteX127" fmla="*/ 303858 w 572945"/>
              <a:gd name="connsiteY127" fmla="*/ 258770 h 572994"/>
              <a:gd name="connsiteX128" fmla="*/ 325980 w 572945"/>
              <a:gd name="connsiteY128" fmla="*/ 258770 h 572994"/>
              <a:gd name="connsiteX129" fmla="*/ 325980 w 572945"/>
              <a:gd name="connsiteY129" fmla="*/ 138536 h 572994"/>
              <a:gd name="connsiteX130" fmla="*/ 303858 w 572945"/>
              <a:gd name="connsiteY130" fmla="*/ 138536 h 572994"/>
              <a:gd name="connsiteX131" fmla="*/ 303858 w 572945"/>
              <a:gd name="connsiteY131" fmla="*/ 180449 h 572994"/>
              <a:gd name="connsiteX132" fmla="*/ 291805 w 572945"/>
              <a:gd name="connsiteY132" fmla="*/ 180449 h 572994"/>
              <a:gd name="connsiteX133" fmla="*/ 280793 w 572945"/>
              <a:gd name="connsiteY133" fmla="*/ 177077 h 572994"/>
              <a:gd name="connsiteX134" fmla="*/ 278263 w 572945"/>
              <a:gd name="connsiteY134" fmla="*/ 170629 h 572994"/>
              <a:gd name="connsiteX135" fmla="*/ 278264 w 572945"/>
              <a:gd name="connsiteY135" fmla="*/ 138536 h 572994"/>
              <a:gd name="connsiteX136" fmla="*/ 52676 w 572945"/>
              <a:gd name="connsiteY136" fmla="*/ 138536 h 572994"/>
              <a:gd name="connsiteX137" fmla="*/ 52676 w 572945"/>
              <a:gd name="connsiteY137" fmla="*/ 258919 h 572994"/>
              <a:gd name="connsiteX138" fmla="*/ 74799 w 572945"/>
              <a:gd name="connsiteY138" fmla="*/ 258919 h 572994"/>
              <a:gd name="connsiteX139" fmla="*/ 74799 w 572945"/>
              <a:gd name="connsiteY139" fmla="*/ 158377 h 572994"/>
              <a:gd name="connsiteX140" fmla="*/ 101980 w 572945"/>
              <a:gd name="connsiteY140" fmla="*/ 158377 h 572994"/>
              <a:gd name="connsiteX141" fmla="*/ 101980 w 572945"/>
              <a:gd name="connsiteY141" fmla="*/ 258720 h 572994"/>
              <a:gd name="connsiteX142" fmla="*/ 124102 w 572945"/>
              <a:gd name="connsiteY142" fmla="*/ 258720 h 572994"/>
              <a:gd name="connsiteX143" fmla="*/ 124102 w 572945"/>
              <a:gd name="connsiteY143" fmla="*/ 138536 h 572994"/>
              <a:gd name="connsiteX144" fmla="*/ 192354 w 572945"/>
              <a:gd name="connsiteY144" fmla="*/ 135114 h 572994"/>
              <a:gd name="connsiteX145" fmla="*/ 164478 w 572945"/>
              <a:gd name="connsiteY145" fmla="*/ 152673 h 572994"/>
              <a:gd name="connsiteX146" fmla="*/ 154558 w 572945"/>
              <a:gd name="connsiteY146" fmla="*/ 197661 h 572994"/>
              <a:gd name="connsiteX147" fmla="*/ 164032 w 572945"/>
              <a:gd name="connsiteY147" fmla="*/ 243542 h 572994"/>
              <a:gd name="connsiteX148" fmla="*/ 192354 w 572945"/>
              <a:gd name="connsiteY148" fmla="*/ 261051 h 572994"/>
              <a:gd name="connsiteX149" fmla="*/ 221867 w 572945"/>
              <a:gd name="connsiteY149" fmla="*/ 242699 h 572994"/>
              <a:gd name="connsiteX150" fmla="*/ 231787 w 572945"/>
              <a:gd name="connsiteY150" fmla="*/ 197463 h 572994"/>
              <a:gd name="connsiteX151" fmla="*/ 221569 w 572945"/>
              <a:gd name="connsiteY151" fmla="*/ 152574 h 572994"/>
              <a:gd name="connsiteX152" fmla="*/ 192354 w 572945"/>
              <a:gd name="connsiteY152" fmla="*/ 135114 h 572994"/>
              <a:gd name="connsiteX153" fmla="*/ 22569 w 572945"/>
              <a:gd name="connsiteY153" fmla="*/ 0 h 572994"/>
              <a:gd name="connsiteX154" fmla="*/ 550377 w 572945"/>
              <a:gd name="connsiteY154" fmla="*/ 0 h 572994"/>
              <a:gd name="connsiteX155" fmla="*/ 572945 w 572945"/>
              <a:gd name="connsiteY155" fmla="*/ 22569 h 572994"/>
              <a:gd name="connsiteX156" fmla="*/ 572945 w 572945"/>
              <a:gd name="connsiteY156" fmla="*/ 550425 h 572994"/>
              <a:gd name="connsiteX157" fmla="*/ 550377 w 572945"/>
              <a:gd name="connsiteY157" fmla="*/ 572994 h 572994"/>
              <a:gd name="connsiteX158" fmla="*/ 22569 w 572945"/>
              <a:gd name="connsiteY158" fmla="*/ 572994 h 572994"/>
              <a:gd name="connsiteX159" fmla="*/ 0 w 572945"/>
              <a:gd name="connsiteY159" fmla="*/ 550425 h 572994"/>
              <a:gd name="connsiteX160" fmla="*/ 0 w 572945"/>
              <a:gd name="connsiteY160" fmla="*/ 22569 h 572994"/>
              <a:gd name="connsiteX161" fmla="*/ 22569 w 572945"/>
              <a:gd name="connsiteY161" fmla="*/ 0 h 572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572945" h="572994">
                <a:moveTo>
                  <a:pt x="72368" y="331981"/>
                </a:moveTo>
                <a:lnTo>
                  <a:pt x="73162" y="331981"/>
                </a:lnTo>
                <a:cubicBezTo>
                  <a:pt x="77956" y="332117"/>
                  <a:pt x="82182" y="335164"/>
                  <a:pt x="83827" y="339670"/>
                </a:cubicBezTo>
                <a:cubicBezTo>
                  <a:pt x="86987" y="347762"/>
                  <a:pt x="88358" y="356442"/>
                  <a:pt x="87844" y="365115"/>
                </a:cubicBezTo>
                <a:cubicBezTo>
                  <a:pt x="88047" y="369970"/>
                  <a:pt x="87130" y="374807"/>
                  <a:pt x="85165" y="379251"/>
                </a:cubicBezTo>
                <a:cubicBezTo>
                  <a:pt x="83578" y="382327"/>
                  <a:pt x="81743" y="383864"/>
                  <a:pt x="79660" y="383864"/>
                </a:cubicBezTo>
                <a:cubicBezTo>
                  <a:pt x="77576" y="383864"/>
                  <a:pt x="75989" y="382525"/>
                  <a:pt x="74700" y="379797"/>
                </a:cubicBezTo>
                <a:cubicBezTo>
                  <a:pt x="72940" y="375823"/>
                  <a:pt x="72141" y="371489"/>
                  <a:pt x="72368" y="367148"/>
                </a:cubicBezTo>
                <a:close/>
                <a:moveTo>
                  <a:pt x="155153" y="330394"/>
                </a:moveTo>
                <a:cubicBezTo>
                  <a:pt x="159964" y="330394"/>
                  <a:pt x="164527" y="334213"/>
                  <a:pt x="167057" y="342100"/>
                </a:cubicBezTo>
                <a:cubicBezTo>
                  <a:pt x="169731" y="352156"/>
                  <a:pt x="170901" y="362553"/>
                  <a:pt x="170530" y="372952"/>
                </a:cubicBezTo>
                <a:cubicBezTo>
                  <a:pt x="170822" y="383696"/>
                  <a:pt x="169450" y="394422"/>
                  <a:pt x="166462" y="404746"/>
                </a:cubicBezTo>
                <a:cubicBezTo>
                  <a:pt x="163883" y="412633"/>
                  <a:pt x="160064" y="416601"/>
                  <a:pt x="155153" y="416601"/>
                </a:cubicBezTo>
                <a:cubicBezTo>
                  <a:pt x="150242" y="416601"/>
                  <a:pt x="146720" y="412534"/>
                  <a:pt x="144092" y="404598"/>
                </a:cubicBezTo>
                <a:cubicBezTo>
                  <a:pt x="141132" y="394419"/>
                  <a:pt x="139760" y="383846"/>
                  <a:pt x="140025" y="373250"/>
                </a:cubicBezTo>
                <a:cubicBezTo>
                  <a:pt x="139730" y="362672"/>
                  <a:pt x="141085" y="352112"/>
                  <a:pt x="144042" y="341951"/>
                </a:cubicBezTo>
                <a:cubicBezTo>
                  <a:pt x="146572" y="334313"/>
                  <a:pt x="150342" y="330394"/>
                  <a:pt x="155153" y="330394"/>
                </a:cubicBezTo>
                <a:close/>
                <a:moveTo>
                  <a:pt x="52379" y="314125"/>
                </a:moveTo>
                <a:lnTo>
                  <a:pt x="52379" y="433515"/>
                </a:lnTo>
                <a:lnTo>
                  <a:pt x="72220" y="433515"/>
                </a:lnTo>
                <a:lnTo>
                  <a:pt x="72220" y="398794"/>
                </a:lnTo>
                <a:cubicBezTo>
                  <a:pt x="79017" y="405787"/>
                  <a:pt x="90196" y="405946"/>
                  <a:pt x="97189" y="399149"/>
                </a:cubicBezTo>
                <a:cubicBezTo>
                  <a:pt x="98757" y="397625"/>
                  <a:pt x="100029" y="395822"/>
                  <a:pt x="100939" y="393834"/>
                </a:cubicBezTo>
                <a:cubicBezTo>
                  <a:pt x="106271" y="383425"/>
                  <a:pt x="108720" y="371779"/>
                  <a:pt x="108032" y="360105"/>
                </a:cubicBezTo>
                <a:cubicBezTo>
                  <a:pt x="108206" y="350699"/>
                  <a:pt x="106257" y="341374"/>
                  <a:pt x="102328" y="332824"/>
                </a:cubicBezTo>
                <a:cubicBezTo>
                  <a:pt x="97442" y="321085"/>
                  <a:pt x="85768" y="313626"/>
                  <a:pt x="73063" y="314125"/>
                </a:cubicBezTo>
                <a:close/>
                <a:moveTo>
                  <a:pt x="338331" y="311049"/>
                </a:moveTo>
                <a:cubicBezTo>
                  <a:pt x="318837" y="311049"/>
                  <a:pt x="303610" y="317150"/>
                  <a:pt x="293689" y="329154"/>
                </a:cubicBezTo>
                <a:cubicBezTo>
                  <a:pt x="284464" y="340016"/>
                  <a:pt x="279752" y="355195"/>
                  <a:pt x="279752" y="374192"/>
                </a:cubicBezTo>
                <a:cubicBezTo>
                  <a:pt x="279044" y="390514"/>
                  <a:pt x="284437" y="406516"/>
                  <a:pt x="294880" y="419081"/>
                </a:cubicBezTo>
                <a:cubicBezTo>
                  <a:pt x="306039" y="431359"/>
                  <a:pt x="322107" y="438000"/>
                  <a:pt x="338678" y="437185"/>
                </a:cubicBezTo>
                <a:lnTo>
                  <a:pt x="339621" y="437185"/>
                </a:lnTo>
                <a:lnTo>
                  <a:pt x="339621" y="416303"/>
                </a:lnTo>
                <a:lnTo>
                  <a:pt x="338678" y="416303"/>
                </a:lnTo>
                <a:cubicBezTo>
                  <a:pt x="327672" y="416961"/>
                  <a:pt x="316998" y="412405"/>
                  <a:pt x="309860" y="404002"/>
                </a:cubicBezTo>
                <a:lnTo>
                  <a:pt x="310108" y="404002"/>
                </a:lnTo>
                <a:cubicBezTo>
                  <a:pt x="297620" y="386032"/>
                  <a:pt x="297443" y="362239"/>
                  <a:pt x="309661" y="344084"/>
                </a:cubicBezTo>
                <a:cubicBezTo>
                  <a:pt x="316764" y="335735"/>
                  <a:pt x="327392" y="331230"/>
                  <a:pt x="338331" y="331932"/>
                </a:cubicBezTo>
                <a:lnTo>
                  <a:pt x="339273" y="331932"/>
                </a:lnTo>
                <a:lnTo>
                  <a:pt x="339273" y="311049"/>
                </a:lnTo>
                <a:close/>
                <a:moveTo>
                  <a:pt x="263929" y="311049"/>
                </a:moveTo>
                <a:cubicBezTo>
                  <a:pt x="244435" y="311049"/>
                  <a:pt x="229208" y="317150"/>
                  <a:pt x="219287" y="329154"/>
                </a:cubicBezTo>
                <a:cubicBezTo>
                  <a:pt x="210062" y="340016"/>
                  <a:pt x="205350" y="355195"/>
                  <a:pt x="205350" y="374192"/>
                </a:cubicBezTo>
                <a:cubicBezTo>
                  <a:pt x="204642" y="390514"/>
                  <a:pt x="210035" y="406516"/>
                  <a:pt x="220478" y="419081"/>
                </a:cubicBezTo>
                <a:cubicBezTo>
                  <a:pt x="231637" y="431359"/>
                  <a:pt x="247705" y="438000"/>
                  <a:pt x="264276" y="437185"/>
                </a:cubicBezTo>
                <a:lnTo>
                  <a:pt x="265218" y="437185"/>
                </a:lnTo>
                <a:lnTo>
                  <a:pt x="265218" y="416303"/>
                </a:lnTo>
                <a:lnTo>
                  <a:pt x="264276" y="416303"/>
                </a:lnTo>
                <a:cubicBezTo>
                  <a:pt x="253424" y="416819"/>
                  <a:pt x="242945" y="412276"/>
                  <a:pt x="235904" y="404002"/>
                </a:cubicBezTo>
                <a:lnTo>
                  <a:pt x="235706" y="404002"/>
                </a:lnTo>
                <a:cubicBezTo>
                  <a:pt x="223218" y="386032"/>
                  <a:pt x="223041" y="362239"/>
                  <a:pt x="235259" y="344084"/>
                </a:cubicBezTo>
                <a:cubicBezTo>
                  <a:pt x="242362" y="335735"/>
                  <a:pt x="252990" y="331230"/>
                  <a:pt x="263929" y="331932"/>
                </a:cubicBezTo>
                <a:lnTo>
                  <a:pt x="264871" y="331932"/>
                </a:lnTo>
                <a:lnTo>
                  <a:pt x="264871" y="311049"/>
                </a:lnTo>
                <a:close/>
                <a:moveTo>
                  <a:pt x="155104" y="311049"/>
                </a:moveTo>
                <a:cubicBezTo>
                  <a:pt x="144042" y="311049"/>
                  <a:pt x="136304" y="316903"/>
                  <a:pt x="130303" y="328410"/>
                </a:cubicBezTo>
                <a:cubicBezTo>
                  <a:pt x="123893" y="342390"/>
                  <a:pt x="120868" y="357684"/>
                  <a:pt x="121474" y="373051"/>
                </a:cubicBezTo>
                <a:cubicBezTo>
                  <a:pt x="120809" y="388687"/>
                  <a:pt x="123692" y="404271"/>
                  <a:pt x="129906" y="418635"/>
                </a:cubicBezTo>
                <a:cubicBezTo>
                  <a:pt x="135610" y="430092"/>
                  <a:pt x="144042" y="435896"/>
                  <a:pt x="155054" y="435896"/>
                </a:cubicBezTo>
                <a:cubicBezTo>
                  <a:pt x="166065" y="435896"/>
                  <a:pt x="174894" y="429795"/>
                  <a:pt x="181293" y="417791"/>
                </a:cubicBezTo>
                <a:cubicBezTo>
                  <a:pt x="187735" y="403716"/>
                  <a:pt x="190760" y="388318"/>
                  <a:pt x="190122" y="372853"/>
                </a:cubicBezTo>
                <a:lnTo>
                  <a:pt x="181006" y="328265"/>
                </a:lnTo>
                <a:lnTo>
                  <a:pt x="181045" y="328311"/>
                </a:lnTo>
                <a:lnTo>
                  <a:pt x="180995" y="328212"/>
                </a:lnTo>
                <a:lnTo>
                  <a:pt x="181006" y="328265"/>
                </a:lnTo>
                <a:lnTo>
                  <a:pt x="169916" y="315383"/>
                </a:lnTo>
                <a:cubicBezTo>
                  <a:pt x="165582" y="312500"/>
                  <a:pt x="160635" y="311049"/>
                  <a:pt x="155104" y="311049"/>
                </a:cubicBezTo>
                <a:close/>
                <a:moveTo>
                  <a:pt x="515953" y="308371"/>
                </a:moveTo>
                <a:lnTo>
                  <a:pt x="514416" y="310008"/>
                </a:lnTo>
                <a:lnTo>
                  <a:pt x="470171" y="356236"/>
                </a:lnTo>
                <a:lnTo>
                  <a:pt x="470171" y="314125"/>
                </a:lnTo>
                <a:lnTo>
                  <a:pt x="450826" y="314125"/>
                </a:lnTo>
                <a:lnTo>
                  <a:pt x="450826" y="433813"/>
                </a:lnTo>
                <a:lnTo>
                  <a:pt x="470171" y="433813"/>
                </a:lnTo>
                <a:lnTo>
                  <a:pt x="470171" y="384658"/>
                </a:lnTo>
                <a:lnTo>
                  <a:pt x="498245" y="354897"/>
                </a:lnTo>
                <a:cubicBezTo>
                  <a:pt x="498245" y="359212"/>
                  <a:pt x="501073" y="433763"/>
                  <a:pt x="501073" y="433763"/>
                </a:cubicBezTo>
                <a:lnTo>
                  <a:pt x="520914" y="433763"/>
                </a:lnTo>
                <a:close/>
                <a:moveTo>
                  <a:pt x="423595" y="308173"/>
                </a:moveTo>
                <a:lnTo>
                  <a:pt x="422058" y="309809"/>
                </a:lnTo>
                <a:lnTo>
                  <a:pt x="377813" y="356038"/>
                </a:lnTo>
                <a:lnTo>
                  <a:pt x="377813" y="313926"/>
                </a:lnTo>
                <a:lnTo>
                  <a:pt x="358469" y="313926"/>
                </a:lnTo>
                <a:lnTo>
                  <a:pt x="358469" y="433614"/>
                </a:lnTo>
                <a:lnTo>
                  <a:pt x="377813" y="433614"/>
                </a:lnTo>
                <a:lnTo>
                  <a:pt x="377813" y="384459"/>
                </a:lnTo>
                <a:lnTo>
                  <a:pt x="405888" y="354698"/>
                </a:lnTo>
                <a:lnTo>
                  <a:pt x="408715" y="433565"/>
                </a:lnTo>
                <a:lnTo>
                  <a:pt x="428556" y="433565"/>
                </a:lnTo>
                <a:close/>
                <a:moveTo>
                  <a:pt x="461739" y="158377"/>
                </a:moveTo>
                <a:lnTo>
                  <a:pt x="469774" y="158377"/>
                </a:lnTo>
                <a:cubicBezTo>
                  <a:pt x="474422" y="157898"/>
                  <a:pt x="478979" y="159894"/>
                  <a:pt x="481778" y="163634"/>
                </a:cubicBezTo>
                <a:cubicBezTo>
                  <a:pt x="484241" y="168757"/>
                  <a:pt x="485641" y="174325"/>
                  <a:pt x="485895" y="180003"/>
                </a:cubicBezTo>
                <a:lnTo>
                  <a:pt x="461094" y="180003"/>
                </a:lnTo>
                <a:close/>
                <a:moveTo>
                  <a:pt x="192404" y="155698"/>
                </a:moveTo>
                <a:cubicBezTo>
                  <a:pt x="197761" y="155698"/>
                  <a:pt x="202671" y="159418"/>
                  <a:pt x="205449" y="167107"/>
                </a:cubicBezTo>
                <a:cubicBezTo>
                  <a:pt x="208421" y="177041"/>
                  <a:pt x="209729" y="187399"/>
                  <a:pt x="209318" y="197760"/>
                </a:cubicBezTo>
                <a:cubicBezTo>
                  <a:pt x="209641" y="208457"/>
                  <a:pt x="208113" y="219129"/>
                  <a:pt x="204804" y="229306"/>
                </a:cubicBezTo>
                <a:lnTo>
                  <a:pt x="204754" y="229108"/>
                </a:lnTo>
                <a:cubicBezTo>
                  <a:pt x="201878" y="236896"/>
                  <a:pt x="197810" y="240666"/>
                  <a:pt x="192354" y="240666"/>
                </a:cubicBezTo>
                <a:cubicBezTo>
                  <a:pt x="186898" y="240666"/>
                  <a:pt x="183178" y="236846"/>
                  <a:pt x="180301" y="228910"/>
                </a:cubicBezTo>
                <a:cubicBezTo>
                  <a:pt x="177053" y="218957"/>
                  <a:pt x="175527" y="208524"/>
                  <a:pt x="175787" y="198058"/>
                </a:cubicBezTo>
                <a:cubicBezTo>
                  <a:pt x="175460" y="187511"/>
                  <a:pt x="176971" y="176987"/>
                  <a:pt x="180251" y="166958"/>
                </a:cubicBezTo>
                <a:cubicBezTo>
                  <a:pt x="183079" y="159369"/>
                  <a:pt x="187047" y="155698"/>
                  <a:pt x="192404" y="155698"/>
                </a:cubicBezTo>
                <a:close/>
                <a:moveTo>
                  <a:pt x="440609" y="138536"/>
                </a:moveTo>
                <a:lnTo>
                  <a:pt x="436541" y="258919"/>
                </a:lnTo>
                <a:lnTo>
                  <a:pt x="458664" y="258919"/>
                </a:lnTo>
                <a:lnTo>
                  <a:pt x="460796" y="199993"/>
                </a:lnTo>
                <a:lnTo>
                  <a:pt x="488425" y="199993"/>
                </a:lnTo>
                <a:lnTo>
                  <a:pt x="494625" y="258720"/>
                </a:lnTo>
                <a:lnTo>
                  <a:pt x="516945" y="258720"/>
                </a:lnTo>
                <a:lnTo>
                  <a:pt x="506727" y="170777"/>
                </a:lnTo>
                <a:cubicBezTo>
                  <a:pt x="507512" y="161003"/>
                  <a:pt x="503587" y="151440"/>
                  <a:pt x="496162" y="145034"/>
                </a:cubicBezTo>
                <a:cubicBezTo>
                  <a:pt x="489526" y="140357"/>
                  <a:pt x="481501" y="138066"/>
                  <a:pt x="473395" y="138536"/>
                </a:cubicBezTo>
                <a:close/>
                <a:moveTo>
                  <a:pt x="352517" y="138536"/>
                </a:moveTo>
                <a:lnTo>
                  <a:pt x="352517" y="158377"/>
                </a:lnTo>
                <a:lnTo>
                  <a:pt x="370869" y="158377"/>
                </a:lnTo>
                <a:lnTo>
                  <a:pt x="371067" y="258770"/>
                </a:lnTo>
                <a:lnTo>
                  <a:pt x="393190" y="258770"/>
                </a:lnTo>
                <a:lnTo>
                  <a:pt x="393190" y="158377"/>
                </a:lnTo>
                <a:lnTo>
                  <a:pt x="411840" y="158377"/>
                </a:lnTo>
                <a:lnTo>
                  <a:pt x="411840" y="138536"/>
                </a:lnTo>
                <a:close/>
                <a:moveTo>
                  <a:pt x="256141" y="138536"/>
                </a:moveTo>
                <a:lnTo>
                  <a:pt x="256141" y="172761"/>
                </a:lnTo>
                <a:cubicBezTo>
                  <a:pt x="256081" y="180446"/>
                  <a:pt x="259511" y="187744"/>
                  <a:pt x="265466" y="192602"/>
                </a:cubicBezTo>
                <a:cubicBezTo>
                  <a:pt x="271657" y="197904"/>
                  <a:pt x="279589" y="200731"/>
                  <a:pt x="287737" y="200538"/>
                </a:cubicBezTo>
                <a:lnTo>
                  <a:pt x="303858" y="200637"/>
                </a:lnTo>
                <a:lnTo>
                  <a:pt x="303858" y="258770"/>
                </a:lnTo>
                <a:lnTo>
                  <a:pt x="325980" y="258770"/>
                </a:lnTo>
                <a:lnTo>
                  <a:pt x="325980" y="138536"/>
                </a:lnTo>
                <a:lnTo>
                  <a:pt x="303858" y="138536"/>
                </a:lnTo>
                <a:lnTo>
                  <a:pt x="303858" y="180449"/>
                </a:lnTo>
                <a:lnTo>
                  <a:pt x="291805" y="180449"/>
                </a:lnTo>
                <a:cubicBezTo>
                  <a:pt x="287838" y="180773"/>
                  <a:pt x="283898" y="179566"/>
                  <a:pt x="280793" y="177077"/>
                </a:cubicBezTo>
                <a:cubicBezTo>
                  <a:pt x="279054" y="175396"/>
                  <a:pt x="278131" y="173043"/>
                  <a:pt x="278263" y="170629"/>
                </a:cubicBezTo>
                <a:lnTo>
                  <a:pt x="278264" y="138536"/>
                </a:lnTo>
                <a:close/>
                <a:moveTo>
                  <a:pt x="52676" y="138536"/>
                </a:moveTo>
                <a:lnTo>
                  <a:pt x="52676" y="258919"/>
                </a:lnTo>
                <a:lnTo>
                  <a:pt x="74799" y="258919"/>
                </a:lnTo>
                <a:lnTo>
                  <a:pt x="74799" y="158377"/>
                </a:lnTo>
                <a:lnTo>
                  <a:pt x="101980" y="158377"/>
                </a:lnTo>
                <a:lnTo>
                  <a:pt x="101980" y="258720"/>
                </a:lnTo>
                <a:lnTo>
                  <a:pt x="124102" y="258720"/>
                </a:lnTo>
                <a:lnTo>
                  <a:pt x="124102" y="138536"/>
                </a:lnTo>
                <a:close/>
                <a:moveTo>
                  <a:pt x="192354" y="135114"/>
                </a:moveTo>
                <a:cubicBezTo>
                  <a:pt x="180470" y="135160"/>
                  <a:pt x="169652" y="141974"/>
                  <a:pt x="164478" y="152673"/>
                </a:cubicBezTo>
                <a:cubicBezTo>
                  <a:pt x="157317" y="166552"/>
                  <a:pt x="153897" y="182057"/>
                  <a:pt x="154558" y="197661"/>
                </a:cubicBezTo>
                <a:cubicBezTo>
                  <a:pt x="153838" y="213506"/>
                  <a:pt x="157094" y="229279"/>
                  <a:pt x="164032" y="243542"/>
                </a:cubicBezTo>
                <a:cubicBezTo>
                  <a:pt x="169242" y="254410"/>
                  <a:pt x="180304" y="261248"/>
                  <a:pt x="192354" y="261051"/>
                </a:cubicBezTo>
                <a:cubicBezTo>
                  <a:pt x="204885" y="261056"/>
                  <a:pt x="216329" y="253939"/>
                  <a:pt x="221867" y="242699"/>
                </a:cubicBezTo>
                <a:cubicBezTo>
                  <a:pt x="229053" y="228740"/>
                  <a:pt x="232472" y="213148"/>
                  <a:pt x="231787" y="197463"/>
                </a:cubicBezTo>
                <a:cubicBezTo>
                  <a:pt x="232469" y="181854"/>
                  <a:pt x="228939" y="166350"/>
                  <a:pt x="221569" y="152574"/>
                </a:cubicBezTo>
                <a:cubicBezTo>
                  <a:pt x="215885" y="141727"/>
                  <a:pt x="204599" y="134982"/>
                  <a:pt x="192354" y="135114"/>
                </a:cubicBezTo>
                <a:close/>
                <a:moveTo>
                  <a:pt x="22569" y="0"/>
                </a:moveTo>
                <a:lnTo>
                  <a:pt x="550377" y="0"/>
                </a:lnTo>
                <a:cubicBezTo>
                  <a:pt x="562841" y="0"/>
                  <a:pt x="572945" y="10104"/>
                  <a:pt x="572945" y="22569"/>
                </a:cubicBezTo>
                <a:lnTo>
                  <a:pt x="572945" y="550425"/>
                </a:lnTo>
                <a:cubicBezTo>
                  <a:pt x="572945" y="562890"/>
                  <a:pt x="562841" y="572994"/>
                  <a:pt x="550377" y="572994"/>
                </a:cubicBezTo>
                <a:lnTo>
                  <a:pt x="22569" y="572994"/>
                </a:lnTo>
                <a:cubicBezTo>
                  <a:pt x="10104" y="572994"/>
                  <a:pt x="0" y="562890"/>
                  <a:pt x="0" y="550425"/>
                </a:cubicBezTo>
                <a:lnTo>
                  <a:pt x="0" y="22569"/>
                </a:lnTo>
                <a:cubicBezTo>
                  <a:pt x="0" y="10104"/>
                  <a:pt x="10104" y="0"/>
                  <a:pt x="22569" y="0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grpSp>
        <p:nvGrpSpPr>
          <p:cNvPr id="12" name="Группа 11">
            <a:extLst>
              <a:ext uri="{FF2B5EF4-FFF2-40B4-BE49-F238E27FC236}">
                <a16:creationId xmlns="" xmlns:a16="http://schemas.microsoft.com/office/drawing/2014/main" id="{6DF10E03-D8B7-475D-9FF1-0C8711776765}"/>
              </a:ext>
            </a:extLst>
          </p:cNvPr>
          <p:cNvGrpSpPr/>
          <p:nvPr userDrawn="1"/>
        </p:nvGrpSpPr>
        <p:grpSpPr>
          <a:xfrm rot="5400000">
            <a:off x="-1060690" y="461365"/>
            <a:ext cx="1291830" cy="369097"/>
            <a:chOff x="632155" y="5349213"/>
            <a:chExt cx="3360373" cy="960114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="" xmlns:a16="http://schemas.microsoft.com/office/drawing/2014/main" id="{D9F89A19-8FF0-4AD6-84DC-15F7D2823D9F}"/>
                </a:ext>
              </a:extLst>
            </p:cNvPr>
            <p:cNvSpPr/>
            <p:nvPr/>
          </p:nvSpPr>
          <p:spPr>
            <a:xfrm>
              <a:off x="632155" y="5349213"/>
              <a:ext cx="960107" cy="96010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="" xmlns:a16="http://schemas.microsoft.com/office/drawing/2014/main" id="{B0C8A7AC-8680-4534-BD64-805C00F4F62C}"/>
                </a:ext>
              </a:extLst>
            </p:cNvPr>
            <p:cNvSpPr/>
            <p:nvPr/>
          </p:nvSpPr>
          <p:spPr>
            <a:xfrm>
              <a:off x="1592261" y="5349213"/>
              <a:ext cx="960107" cy="960107"/>
            </a:xfrm>
            <a:prstGeom prst="rect">
              <a:avLst/>
            </a:prstGeom>
            <a:solidFill>
              <a:srgbClr val="2C56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="" xmlns:a16="http://schemas.microsoft.com/office/drawing/2014/main" id="{BF9AC991-6489-4D85-88A0-AB74120BD878}"/>
                </a:ext>
              </a:extLst>
            </p:cNvPr>
            <p:cNvSpPr/>
            <p:nvPr/>
          </p:nvSpPr>
          <p:spPr>
            <a:xfrm>
              <a:off x="2552368" y="5349213"/>
              <a:ext cx="960106" cy="96010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indent="0" algn="ctr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="" xmlns:a16="http://schemas.microsoft.com/office/drawing/2014/main" id="{9E5C4358-A558-462E-821F-2A9AC3310A75}"/>
                </a:ext>
              </a:extLst>
            </p:cNvPr>
            <p:cNvSpPr/>
            <p:nvPr/>
          </p:nvSpPr>
          <p:spPr>
            <a:xfrm>
              <a:off x="3512475" y="5349213"/>
              <a:ext cx="480053" cy="48005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="" xmlns:a16="http://schemas.microsoft.com/office/drawing/2014/main" id="{33097FA4-EB1E-4798-826F-7F4B8336D5AB}"/>
                </a:ext>
              </a:extLst>
            </p:cNvPr>
            <p:cNvSpPr/>
            <p:nvPr/>
          </p:nvSpPr>
          <p:spPr>
            <a:xfrm>
              <a:off x="3512475" y="5829274"/>
              <a:ext cx="480053" cy="4800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="" xmlns:a16="http://schemas.microsoft.com/office/drawing/2014/main" id="{3C5996F1-2B61-4AE5-AF41-332CAFC897E4}"/>
              </a:ext>
            </a:extLst>
          </p:cNvPr>
          <p:cNvGrpSpPr/>
          <p:nvPr userDrawn="1"/>
        </p:nvGrpSpPr>
        <p:grpSpPr>
          <a:xfrm rot="5400000">
            <a:off x="-1337511" y="2738906"/>
            <a:ext cx="1845470" cy="369094"/>
            <a:chOff x="6299597" y="4435281"/>
            <a:chExt cx="4800534" cy="960107"/>
          </a:xfrm>
        </p:grpSpPr>
        <p:sp>
          <p:nvSpPr>
            <p:cNvPr id="5" name="Прямоугольник 4">
              <a:extLst>
                <a:ext uri="{FF2B5EF4-FFF2-40B4-BE49-F238E27FC236}">
                  <a16:creationId xmlns="" xmlns:a16="http://schemas.microsoft.com/office/drawing/2014/main" id="{429A1F8A-1A56-4935-B69D-2E06148044B9}"/>
                </a:ext>
              </a:extLst>
            </p:cNvPr>
            <p:cNvSpPr/>
            <p:nvPr userDrawn="1"/>
          </p:nvSpPr>
          <p:spPr>
            <a:xfrm>
              <a:off x="6299597" y="4435281"/>
              <a:ext cx="960107" cy="960107"/>
            </a:xfrm>
            <a:prstGeom prst="rect">
              <a:avLst/>
            </a:prstGeom>
            <a:solidFill>
              <a:srgbClr val="B915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="" xmlns:a16="http://schemas.microsoft.com/office/drawing/2014/main" id="{73B9C65B-ED67-478C-821E-9FDFF1AAB054}"/>
                </a:ext>
              </a:extLst>
            </p:cNvPr>
            <p:cNvSpPr/>
            <p:nvPr userDrawn="1"/>
          </p:nvSpPr>
          <p:spPr>
            <a:xfrm>
              <a:off x="7259704" y="4435281"/>
              <a:ext cx="960106" cy="960107"/>
            </a:xfrm>
            <a:prstGeom prst="rect">
              <a:avLst/>
            </a:prstGeom>
            <a:solidFill>
              <a:srgbClr val="6ACC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2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="" xmlns:a16="http://schemas.microsoft.com/office/drawing/2014/main" id="{1896F241-6987-4A62-9C87-5EEA8CEB2403}"/>
                </a:ext>
              </a:extLst>
            </p:cNvPr>
            <p:cNvSpPr/>
            <p:nvPr userDrawn="1"/>
          </p:nvSpPr>
          <p:spPr>
            <a:xfrm>
              <a:off x="8219810" y="4435281"/>
              <a:ext cx="960107" cy="960107"/>
            </a:xfrm>
            <a:prstGeom prst="rect">
              <a:avLst/>
            </a:prstGeom>
            <a:solidFill>
              <a:srgbClr val="6597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="" xmlns:a16="http://schemas.microsoft.com/office/drawing/2014/main" id="{212B7325-9FD5-4022-A162-DE0C1D462D20}"/>
                </a:ext>
              </a:extLst>
            </p:cNvPr>
            <p:cNvSpPr/>
            <p:nvPr userDrawn="1"/>
          </p:nvSpPr>
          <p:spPr>
            <a:xfrm>
              <a:off x="9179917" y="4435281"/>
              <a:ext cx="960107" cy="960107"/>
            </a:xfrm>
            <a:prstGeom prst="rect">
              <a:avLst/>
            </a:prstGeom>
            <a:solidFill>
              <a:srgbClr val="FFEE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="" xmlns:a16="http://schemas.microsoft.com/office/drawing/2014/main" id="{C7B286C2-D508-40D3-B6A4-C4C39039C53C}"/>
                </a:ext>
              </a:extLst>
            </p:cNvPr>
            <p:cNvSpPr/>
            <p:nvPr userDrawn="1"/>
          </p:nvSpPr>
          <p:spPr>
            <a:xfrm>
              <a:off x="10140024" y="4435281"/>
              <a:ext cx="960107" cy="960107"/>
            </a:xfrm>
            <a:prstGeom prst="rect">
              <a:avLst/>
            </a:prstGeom>
            <a:solidFill>
              <a:srgbClr val="B07A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14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="" xmlns:a16="http://schemas.microsoft.com/office/drawing/2014/main" id="{B7241A15-C67E-4898-8103-7CD4FFB3557F}"/>
                </a:ext>
              </a:extLst>
            </p:cNvPr>
            <p:cNvSpPr/>
            <p:nvPr userDrawn="1"/>
          </p:nvSpPr>
          <p:spPr>
            <a:xfrm>
              <a:off x="7739756" y="4435281"/>
              <a:ext cx="480053" cy="960107"/>
            </a:xfrm>
            <a:prstGeom prst="rect">
              <a:avLst/>
            </a:prstGeom>
            <a:solidFill>
              <a:srgbClr val="3EBB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9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067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  <p:sldLayoutId id="2147484018" r:id="rId12"/>
    <p:sldLayoutId id="2147484019" r:id="rId13"/>
    <p:sldLayoutId id="2147484020" r:id="rId14"/>
    <p:sldLayoutId id="2147484021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400" b="0" kern="120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A4A3A4"/>
          </p15:clr>
        </p15:guide>
        <p15:guide id="2" pos="7333">
          <p15:clr>
            <a:srgbClr val="A4A3A4"/>
          </p15:clr>
        </p15:guide>
        <p15:guide id="3" orient="horz" pos="4042">
          <p15:clr>
            <a:srgbClr val="A4A3A4"/>
          </p15:clr>
        </p15:guide>
        <p15:guide id="4" orient="horz" pos="79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7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image" Target="../media/image9.jpg"/><Relationship Id="rId7" Type="http://schemas.openxmlformats.org/officeDocument/2006/relationships/image" Target="../media/image13.jpe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Relationship Id="rId9" Type="http://schemas.openxmlformats.org/officeDocument/2006/relationships/image" Target="../media/image15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210257F8-26A0-4845-9056-BFF6B33CB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28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="" xmlns:a16="http://schemas.microsoft.com/office/drawing/2014/main" id="{210257F8-26A0-4845-9056-BFF6B33CB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па 6">
            <a:extLst>
              <a:ext uri="{FF2B5EF4-FFF2-40B4-BE49-F238E27FC236}">
                <a16:creationId xmlns="" xmlns:a16="http://schemas.microsoft.com/office/drawing/2014/main" id="{C37165D0-BF16-44DD-97F6-7BEC5E88B59E}"/>
              </a:ext>
            </a:extLst>
          </p:cNvPr>
          <p:cNvGrpSpPr/>
          <p:nvPr/>
        </p:nvGrpSpPr>
        <p:grpSpPr>
          <a:xfrm>
            <a:off x="821190" y="777648"/>
            <a:ext cx="1233487" cy="1233592"/>
            <a:chOff x="5547741" y="2881978"/>
            <a:chExt cx="1100232" cy="1100328"/>
          </a:xfrm>
        </p:grpSpPr>
        <p:sp>
          <p:nvSpPr>
            <p:cNvPr id="8" name="Полилиния: фигура 7">
              <a:extLst>
                <a:ext uri="{FF2B5EF4-FFF2-40B4-BE49-F238E27FC236}">
                  <a16:creationId xmlns="" xmlns:a16="http://schemas.microsoft.com/office/drawing/2014/main" id="{AC02761F-43A9-4616-9CBA-DB6290687898}"/>
                </a:ext>
              </a:extLst>
            </p:cNvPr>
            <p:cNvSpPr/>
            <p:nvPr/>
          </p:nvSpPr>
          <p:spPr>
            <a:xfrm>
              <a:off x="5547741" y="2881978"/>
              <a:ext cx="1100232" cy="1100328"/>
            </a:xfrm>
            <a:custGeom>
              <a:avLst/>
              <a:gdLst>
                <a:gd name="connsiteX0" fmla="*/ 1056894 w 1100232"/>
                <a:gd name="connsiteY0" fmla="*/ 0 h 1100328"/>
                <a:gd name="connsiteX1" fmla="*/ 1100233 w 1100232"/>
                <a:gd name="connsiteY1" fmla="*/ 43339 h 1100328"/>
                <a:gd name="connsiteX2" fmla="*/ 1100233 w 1100232"/>
                <a:gd name="connsiteY2" fmla="*/ 1056989 h 1100328"/>
                <a:gd name="connsiteX3" fmla="*/ 1056894 w 1100232"/>
                <a:gd name="connsiteY3" fmla="*/ 1100328 h 1100328"/>
                <a:gd name="connsiteX4" fmla="*/ 43339 w 1100232"/>
                <a:gd name="connsiteY4" fmla="*/ 1100328 h 1100328"/>
                <a:gd name="connsiteX5" fmla="*/ 0 w 1100232"/>
                <a:gd name="connsiteY5" fmla="*/ 1056989 h 1100328"/>
                <a:gd name="connsiteX6" fmla="*/ 0 w 1100232"/>
                <a:gd name="connsiteY6" fmla="*/ 43339 h 1100328"/>
                <a:gd name="connsiteX7" fmla="*/ 43339 w 1100232"/>
                <a:gd name="connsiteY7" fmla="*/ 0 h 110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0232" h="1100328">
                  <a:moveTo>
                    <a:pt x="1056894" y="0"/>
                  </a:moveTo>
                  <a:cubicBezTo>
                    <a:pt x="1080829" y="0"/>
                    <a:pt x="1100233" y="19403"/>
                    <a:pt x="1100233" y="43339"/>
                  </a:cubicBezTo>
                  <a:lnTo>
                    <a:pt x="1100233" y="1056989"/>
                  </a:lnTo>
                  <a:cubicBezTo>
                    <a:pt x="1100233" y="1080925"/>
                    <a:pt x="1080829" y="1100328"/>
                    <a:pt x="1056894" y="1100328"/>
                  </a:cubicBezTo>
                  <a:lnTo>
                    <a:pt x="43339" y="1100328"/>
                  </a:lnTo>
                  <a:cubicBezTo>
                    <a:pt x="19403" y="1100328"/>
                    <a:pt x="0" y="1080925"/>
                    <a:pt x="0" y="1056989"/>
                  </a:cubicBezTo>
                  <a:lnTo>
                    <a:pt x="0" y="43339"/>
                  </a:lnTo>
                  <a:cubicBezTo>
                    <a:pt x="0" y="19403"/>
                    <a:pt x="19403" y="0"/>
                    <a:pt x="43339" y="0"/>
                  </a:cubicBezTo>
                  <a:close/>
                </a:path>
              </a:pathLst>
            </a:custGeom>
            <a:solidFill>
              <a:srgbClr val="1937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="" xmlns:a16="http://schemas.microsoft.com/office/drawing/2014/main" id="{DAADC2A5-D472-4BD1-A69B-4AEEE7D5CCEC}"/>
                </a:ext>
              </a:extLst>
            </p:cNvPr>
            <p:cNvSpPr/>
            <p:nvPr/>
          </p:nvSpPr>
          <p:spPr>
            <a:xfrm>
              <a:off x="5648325" y="3141436"/>
              <a:ext cx="899731" cy="580204"/>
            </a:xfrm>
            <a:custGeom>
              <a:avLst/>
              <a:gdLst>
                <a:gd name="connsiteX0" fmla="*/ 247079 w 899731"/>
                <a:gd name="connsiteY0" fmla="*/ 371002 h 580204"/>
                <a:gd name="connsiteX1" fmla="*/ 197263 w 899731"/>
                <a:gd name="connsiteY1" fmla="*/ 337855 h 580204"/>
                <a:gd name="connsiteX2" fmla="*/ 149638 w 899731"/>
                <a:gd name="connsiteY2" fmla="*/ 371193 h 580204"/>
                <a:gd name="connsiteX3" fmla="*/ 132683 w 899731"/>
                <a:gd name="connsiteY3" fmla="*/ 456918 h 580204"/>
                <a:gd name="connsiteX4" fmla="*/ 148876 w 899731"/>
                <a:gd name="connsiteY4" fmla="*/ 544453 h 580204"/>
                <a:gd name="connsiteX5" fmla="*/ 197167 w 899731"/>
                <a:gd name="connsiteY5" fmla="*/ 577600 h 580204"/>
                <a:gd name="connsiteX6" fmla="*/ 247555 w 899731"/>
                <a:gd name="connsiteY6" fmla="*/ 542833 h 580204"/>
                <a:gd name="connsiteX7" fmla="*/ 264509 w 899731"/>
                <a:gd name="connsiteY7" fmla="*/ 456537 h 580204"/>
                <a:gd name="connsiteX8" fmla="*/ 246983 w 899731"/>
                <a:gd name="connsiteY8" fmla="*/ 370812 h 580204"/>
                <a:gd name="connsiteX9" fmla="*/ 219075 w 899731"/>
                <a:gd name="connsiteY9" fmla="*/ 517783 h 580204"/>
                <a:gd name="connsiteX10" fmla="*/ 197358 w 899731"/>
                <a:gd name="connsiteY10" fmla="*/ 540547 h 580204"/>
                <a:gd name="connsiteX11" fmla="*/ 176117 w 899731"/>
                <a:gd name="connsiteY11" fmla="*/ 517497 h 580204"/>
                <a:gd name="connsiteX12" fmla="*/ 168307 w 899731"/>
                <a:gd name="connsiteY12" fmla="*/ 457299 h 580204"/>
                <a:gd name="connsiteX13" fmla="*/ 176022 w 899731"/>
                <a:gd name="connsiteY13" fmla="*/ 397196 h 580204"/>
                <a:gd name="connsiteX14" fmla="*/ 197358 w 899731"/>
                <a:gd name="connsiteY14" fmla="*/ 375003 h 580204"/>
                <a:gd name="connsiteX15" fmla="*/ 220218 w 899731"/>
                <a:gd name="connsiteY15" fmla="*/ 397482 h 580204"/>
                <a:gd name="connsiteX16" fmla="*/ 226886 w 899731"/>
                <a:gd name="connsiteY16" fmla="*/ 456727 h 580204"/>
                <a:gd name="connsiteX17" fmla="*/ 219075 w 899731"/>
                <a:gd name="connsiteY17" fmla="*/ 517783 h 580204"/>
                <a:gd name="connsiteX18" fmla="*/ 325469 w 899731"/>
                <a:gd name="connsiteY18" fmla="*/ 206601 h 580204"/>
                <a:gd name="connsiteX19" fmla="*/ 344519 w 899731"/>
                <a:gd name="connsiteY19" fmla="*/ 119733 h 580204"/>
                <a:gd name="connsiteX20" fmla="*/ 324898 w 899731"/>
                <a:gd name="connsiteY20" fmla="*/ 33532 h 580204"/>
                <a:gd name="connsiteX21" fmla="*/ 268796 w 899731"/>
                <a:gd name="connsiteY21" fmla="*/ 4 h 580204"/>
                <a:gd name="connsiteX22" fmla="*/ 215265 w 899731"/>
                <a:gd name="connsiteY22" fmla="*/ 33722 h 580204"/>
                <a:gd name="connsiteX23" fmla="*/ 196215 w 899731"/>
                <a:gd name="connsiteY23" fmla="*/ 120114 h 580204"/>
                <a:gd name="connsiteX24" fmla="*/ 214408 w 899731"/>
                <a:gd name="connsiteY24" fmla="*/ 208220 h 580204"/>
                <a:gd name="connsiteX25" fmla="*/ 268796 w 899731"/>
                <a:gd name="connsiteY25" fmla="*/ 241843 h 580204"/>
                <a:gd name="connsiteX26" fmla="*/ 325469 w 899731"/>
                <a:gd name="connsiteY26" fmla="*/ 206601 h 580204"/>
                <a:gd name="connsiteX27" fmla="*/ 292608 w 899731"/>
                <a:gd name="connsiteY27" fmla="*/ 180502 h 580204"/>
                <a:gd name="connsiteX28" fmla="*/ 268796 w 899731"/>
                <a:gd name="connsiteY28" fmla="*/ 202696 h 580204"/>
                <a:gd name="connsiteX29" fmla="*/ 245650 w 899731"/>
                <a:gd name="connsiteY29" fmla="*/ 180121 h 580204"/>
                <a:gd name="connsiteX30" fmla="*/ 236982 w 899731"/>
                <a:gd name="connsiteY30" fmla="*/ 120876 h 580204"/>
                <a:gd name="connsiteX31" fmla="*/ 245554 w 899731"/>
                <a:gd name="connsiteY31" fmla="*/ 61154 h 580204"/>
                <a:gd name="connsiteX32" fmla="*/ 268891 w 899731"/>
                <a:gd name="connsiteY32" fmla="*/ 39532 h 580204"/>
                <a:gd name="connsiteX33" fmla="*/ 293942 w 899731"/>
                <a:gd name="connsiteY33" fmla="*/ 61440 h 580204"/>
                <a:gd name="connsiteX34" fmla="*/ 301371 w 899731"/>
                <a:gd name="connsiteY34" fmla="*/ 120304 h 580204"/>
                <a:gd name="connsiteX35" fmla="*/ 292703 w 899731"/>
                <a:gd name="connsiteY35" fmla="*/ 180883 h 580204"/>
                <a:gd name="connsiteX36" fmla="*/ 39719 w 899731"/>
                <a:gd name="connsiteY36" fmla="*/ 343761 h 580204"/>
                <a:gd name="connsiteX37" fmla="*/ 0 w 899731"/>
                <a:gd name="connsiteY37" fmla="*/ 343761 h 580204"/>
                <a:gd name="connsiteX38" fmla="*/ 0 w 899731"/>
                <a:gd name="connsiteY38" fmla="*/ 573028 h 580204"/>
                <a:gd name="connsiteX39" fmla="*/ 38100 w 899731"/>
                <a:gd name="connsiteY39" fmla="*/ 573028 h 580204"/>
                <a:gd name="connsiteX40" fmla="*/ 38100 w 899731"/>
                <a:gd name="connsiteY40" fmla="*/ 506353 h 580204"/>
                <a:gd name="connsiteX41" fmla="*/ 86050 w 899731"/>
                <a:gd name="connsiteY41" fmla="*/ 507034 h 580204"/>
                <a:gd name="connsiteX42" fmla="*/ 93250 w 899731"/>
                <a:gd name="connsiteY42" fmla="*/ 496828 h 580204"/>
                <a:gd name="connsiteX43" fmla="*/ 106871 w 899731"/>
                <a:gd name="connsiteY43" fmla="*/ 432058 h 580204"/>
                <a:gd name="connsiteX44" fmla="*/ 95917 w 899731"/>
                <a:gd name="connsiteY44" fmla="*/ 379670 h 580204"/>
                <a:gd name="connsiteX45" fmla="*/ 39719 w 899731"/>
                <a:gd name="connsiteY45" fmla="*/ 343761 h 580204"/>
                <a:gd name="connsiteX46" fmla="*/ 62960 w 899731"/>
                <a:gd name="connsiteY46" fmla="*/ 468824 h 580204"/>
                <a:gd name="connsiteX47" fmla="*/ 52388 w 899731"/>
                <a:gd name="connsiteY47" fmla="*/ 477682 h 580204"/>
                <a:gd name="connsiteX48" fmla="*/ 42863 w 899731"/>
                <a:gd name="connsiteY48" fmla="*/ 469872 h 580204"/>
                <a:gd name="connsiteX49" fmla="*/ 38386 w 899731"/>
                <a:gd name="connsiteY49" fmla="*/ 445583 h 580204"/>
                <a:gd name="connsiteX50" fmla="*/ 38386 w 899731"/>
                <a:gd name="connsiteY50" fmla="*/ 378051 h 580204"/>
                <a:gd name="connsiteX51" fmla="*/ 39910 w 899731"/>
                <a:gd name="connsiteY51" fmla="*/ 378051 h 580204"/>
                <a:gd name="connsiteX52" fmla="*/ 60389 w 899731"/>
                <a:gd name="connsiteY52" fmla="*/ 392815 h 580204"/>
                <a:gd name="connsiteX53" fmla="*/ 68104 w 899731"/>
                <a:gd name="connsiteY53" fmla="*/ 441678 h 580204"/>
                <a:gd name="connsiteX54" fmla="*/ 62960 w 899731"/>
                <a:gd name="connsiteY54" fmla="*/ 468824 h 580204"/>
                <a:gd name="connsiteX55" fmla="*/ 43053 w 899731"/>
                <a:gd name="connsiteY55" fmla="*/ 44676 h 580204"/>
                <a:gd name="connsiteX56" fmla="*/ 95250 w 899731"/>
                <a:gd name="connsiteY56" fmla="*/ 44676 h 580204"/>
                <a:gd name="connsiteX57" fmla="*/ 95250 w 899731"/>
                <a:gd name="connsiteY57" fmla="*/ 237367 h 580204"/>
                <a:gd name="connsiteX58" fmla="*/ 137731 w 899731"/>
                <a:gd name="connsiteY58" fmla="*/ 237367 h 580204"/>
                <a:gd name="connsiteX59" fmla="*/ 137731 w 899731"/>
                <a:gd name="connsiteY59" fmla="*/ 6576 h 580204"/>
                <a:gd name="connsiteX60" fmla="*/ 571 w 899731"/>
                <a:gd name="connsiteY60" fmla="*/ 6576 h 580204"/>
                <a:gd name="connsiteX61" fmla="*/ 571 w 899731"/>
                <a:gd name="connsiteY61" fmla="*/ 237748 h 580204"/>
                <a:gd name="connsiteX62" fmla="*/ 43053 w 899731"/>
                <a:gd name="connsiteY62" fmla="*/ 237748 h 580204"/>
                <a:gd name="connsiteX63" fmla="*/ 784288 w 899731"/>
                <a:gd name="connsiteY63" fmla="*/ 124591 h 580204"/>
                <a:gd name="connsiteX64" fmla="*/ 837343 w 899731"/>
                <a:gd name="connsiteY64" fmla="*/ 124591 h 580204"/>
                <a:gd name="connsiteX65" fmla="*/ 849249 w 899731"/>
                <a:gd name="connsiteY65" fmla="*/ 237367 h 580204"/>
                <a:gd name="connsiteX66" fmla="*/ 892112 w 899731"/>
                <a:gd name="connsiteY66" fmla="*/ 237367 h 580204"/>
                <a:gd name="connsiteX67" fmla="*/ 872490 w 899731"/>
                <a:gd name="connsiteY67" fmla="*/ 68488 h 580204"/>
                <a:gd name="connsiteX68" fmla="*/ 852202 w 899731"/>
                <a:gd name="connsiteY68" fmla="*/ 19054 h 580204"/>
                <a:gd name="connsiteX69" fmla="*/ 808482 w 899731"/>
                <a:gd name="connsiteY69" fmla="*/ 6576 h 580204"/>
                <a:gd name="connsiteX70" fmla="*/ 745522 w 899731"/>
                <a:gd name="connsiteY70" fmla="*/ 6576 h 580204"/>
                <a:gd name="connsiteX71" fmla="*/ 737711 w 899731"/>
                <a:gd name="connsiteY71" fmla="*/ 237748 h 580204"/>
                <a:gd name="connsiteX72" fmla="*/ 780193 w 899731"/>
                <a:gd name="connsiteY72" fmla="*/ 237748 h 580204"/>
                <a:gd name="connsiteX73" fmla="*/ 786098 w 899731"/>
                <a:gd name="connsiteY73" fmla="*/ 44676 h 580204"/>
                <a:gd name="connsiteX74" fmla="*/ 801529 w 899731"/>
                <a:gd name="connsiteY74" fmla="*/ 44676 h 580204"/>
                <a:gd name="connsiteX75" fmla="*/ 824579 w 899731"/>
                <a:gd name="connsiteY75" fmla="*/ 54772 h 580204"/>
                <a:gd name="connsiteX76" fmla="*/ 832485 w 899731"/>
                <a:gd name="connsiteY76" fmla="*/ 86205 h 580204"/>
                <a:gd name="connsiteX77" fmla="*/ 784860 w 899731"/>
                <a:gd name="connsiteY77" fmla="*/ 86205 h 580204"/>
                <a:gd name="connsiteX78" fmla="*/ 709898 w 899731"/>
                <a:gd name="connsiteY78" fmla="*/ 335474 h 580204"/>
                <a:gd name="connsiteX79" fmla="*/ 624935 w 899731"/>
                <a:gd name="connsiteY79" fmla="*/ 424247 h 580204"/>
                <a:gd name="connsiteX80" fmla="*/ 624935 w 899731"/>
                <a:gd name="connsiteY80" fmla="*/ 343380 h 580204"/>
                <a:gd name="connsiteX81" fmla="*/ 587788 w 899731"/>
                <a:gd name="connsiteY81" fmla="*/ 343380 h 580204"/>
                <a:gd name="connsiteX82" fmla="*/ 587788 w 899731"/>
                <a:gd name="connsiteY82" fmla="*/ 573218 h 580204"/>
                <a:gd name="connsiteX83" fmla="*/ 624935 w 899731"/>
                <a:gd name="connsiteY83" fmla="*/ 573218 h 580204"/>
                <a:gd name="connsiteX84" fmla="*/ 624935 w 899731"/>
                <a:gd name="connsiteY84" fmla="*/ 478825 h 580204"/>
                <a:gd name="connsiteX85" fmla="*/ 678847 w 899731"/>
                <a:gd name="connsiteY85" fmla="*/ 421675 h 580204"/>
                <a:gd name="connsiteX86" fmla="*/ 684276 w 899731"/>
                <a:gd name="connsiteY86" fmla="*/ 573123 h 580204"/>
                <a:gd name="connsiteX87" fmla="*/ 722376 w 899731"/>
                <a:gd name="connsiteY87" fmla="*/ 573123 h 580204"/>
                <a:gd name="connsiteX88" fmla="*/ 712851 w 899731"/>
                <a:gd name="connsiteY88" fmla="*/ 332331 h 580204"/>
                <a:gd name="connsiteX89" fmla="*/ 611981 w 899731"/>
                <a:gd name="connsiteY89" fmla="*/ 237462 h 580204"/>
                <a:gd name="connsiteX90" fmla="*/ 654463 w 899731"/>
                <a:gd name="connsiteY90" fmla="*/ 237462 h 580204"/>
                <a:gd name="connsiteX91" fmla="*/ 654463 w 899731"/>
                <a:gd name="connsiteY91" fmla="*/ 44676 h 580204"/>
                <a:gd name="connsiteX92" fmla="*/ 690277 w 899731"/>
                <a:gd name="connsiteY92" fmla="*/ 44676 h 580204"/>
                <a:gd name="connsiteX93" fmla="*/ 690277 w 899731"/>
                <a:gd name="connsiteY93" fmla="*/ 6576 h 580204"/>
                <a:gd name="connsiteX94" fmla="*/ 576358 w 899731"/>
                <a:gd name="connsiteY94" fmla="*/ 6576 h 580204"/>
                <a:gd name="connsiteX95" fmla="*/ 576358 w 899731"/>
                <a:gd name="connsiteY95" fmla="*/ 44676 h 580204"/>
                <a:gd name="connsiteX96" fmla="*/ 611600 w 899731"/>
                <a:gd name="connsiteY96" fmla="*/ 44676 h 580204"/>
                <a:gd name="connsiteX97" fmla="*/ 890207 w 899731"/>
                <a:gd name="connsiteY97" fmla="*/ 332712 h 580204"/>
                <a:gd name="connsiteX98" fmla="*/ 887254 w 899731"/>
                <a:gd name="connsiteY98" fmla="*/ 335855 h 580204"/>
                <a:gd name="connsiteX99" fmla="*/ 802291 w 899731"/>
                <a:gd name="connsiteY99" fmla="*/ 424628 h 580204"/>
                <a:gd name="connsiteX100" fmla="*/ 802291 w 899731"/>
                <a:gd name="connsiteY100" fmla="*/ 343761 h 580204"/>
                <a:gd name="connsiteX101" fmla="*/ 765143 w 899731"/>
                <a:gd name="connsiteY101" fmla="*/ 343761 h 580204"/>
                <a:gd name="connsiteX102" fmla="*/ 765143 w 899731"/>
                <a:gd name="connsiteY102" fmla="*/ 573599 h 580204"/>
                <a:gd name="connsiteX103" fmla="*/ 802291 w 899731"/>
                <a:gd name="connsiteY103" fmla="*/ 573599 h 580204"/>
                <a:gd name="connsiteX104" fmla="*/ 802291 w 899731"/>
                <a:gd name="connsiteY104" fmla="*/ 479206 h 580204"/>
                <a:gd name="connsiteX105" fmla="*/ 856202 w 899731"/>
                <a:gd name="connsiteY105" fmla="*/ 422056 h 580204"/>
                <a:gd name="connsiteX106" fmla="*/ 861632 w 899731"/>
                <a:gd name="connsiteY106" fmla="*/ 573504 h 580204"/>
                <a:gd name="connsiteX107" fmla="*/ 899732 w 899731"/>
                <a:gd name="connsiteY107" fmla="*/ 573504 h 580204"/>
                <a:gd name="connsiteX108" fmla="*/ 482917 w 899731"/>
                <a:gd name="connsiteY108" fmla="*/ 125829 h 580204"/>
                <a:gd name="connsiteX109" fmla="*/ 482917 w 899731"/>
                <a:gd name="connsiteY109" fmla="*/ 237462 h 580204"/>
                <a:gd name="connsiteX110" fmla="*/ 525399 w 899731"/>
                <a:gd name="connsiteY110" fmla="*/ 237462 h 580204"/>
                <a:gd name="connsiteX111" fmla="*/ 525399 w 899731"/>
                <a:gd name="connsiteY111" fmla="*/ 6576 h 580204"/>
                <a:gd name="connsiteX112" fmla="*/ 482917 w 899731"/>
                <a:gd name="connsiteY112" fmla="*/ 6576 h 580204"/>
                <a:gd name="connsiteX113" fmla="*/ 482917 w 899731"/>
                <a:gd name="connsiteY113" fmla="*/ 87062 h 580204"/>
                <a:gd name="connsiteX114" fmla="*/ 459772 w 899731"/>
                <a:gd name="connsiteY114" fmla="*/ 87062 h 580204"/>
                <a:gd name="connsiteX115" fmla="*/ 438626 w 899731"/>
                <a:gd name="connsiteY115" fmla="*/ 80585 h 580204"/>
                <a:gd name="connsiteX116" fmla="*/ 433768 w 899731"/>
                <a:gd name="connsiteY116" fmla="*/ 68203 h 580204"/>
                <a:gd name="connsiteX117" fmla="*/ 433769 w 899731"/>
                <a:gd name="connsiteY117" fmla="*/ 6576 h 580204"/>
                <a:gd name="connsiteX118" fmla="*/ 391287 w 899731"/>
                <a:gd name="connsiteY118" fmla="*/ 6576 h 580204"/>
                <a:gd name="connsiteX119" fmla="*/ 391287 w 899731"/>
                <a:gd name="connsiteY119" fmla="*/ 72298 h 580204"/>
                <a:gd name="connsiteX120" fmla="*/ 409194 w 899731"/>
                <a:gd name="connsiteY120" fmla="*/ 110398 h 580204"/>
                <a:gd name="connsiteX121" fmla="*/ 451961 w 899731"/>
                <a:gd name="connsiteY121" fmla="*/ 125638 h 580204"/>
                <a:gd name="connsiteX122" fmla="*/ 352044 w 899731"/>
                <a:gd name="connsiteY122" fmla="*/ 516354 h 580204"/>
                <a:gd name="connsiteX123" fmla="*/ 351187 w 899731"/>
                <a:gd name="connsiteY123" fmla="*/ 401292 h 580204"/>
                <a:gd name="connsiteX124" fmla="*/ 406241 w 899731"/>
                <a:gd name="connsiteY124" fmla="*/ 377956 h 580204"/>
                <a:gd name="connsiteX125" fmla="*/ 408051 w 899731"/>
                <a:gd name="connsiteY125" fmla="*/ 377956 h 580204"/>
                <a:gd name="connsiteX126" fmla="*/ 408051 w 899731"/>
                <a:gd name="connsiteY126" fmla="*/ 337855 h 580204"/>
                <a:gd name="connsiteX127" fmla="*/ 406241 w 899731"/>
                <a:gd name="connsiteY127" fmla="*/ 337855 h 580204"/>
                <a:gd name="connsiteX128" fmla="*/ 320516 w 899731"/>
                <a:gd name="connsiteY128" fmla="*/ 372622 h 580204"/>
                <a:gd name="connsiteX129" fmla="*/ 293751 w 899731"/>
                <a:gd name="connsiteY129" fmla="*/ 459109 h 580204"/>
                <a:gd name="connsiteX130" fmla="*/ 322802 w 899731"/>
                <a:gd name="connsiteY130" fmla="*/ 545310 h 580204"/>
                <a:gd name="connsiteX131" fmla="*/ 406908 w 899731"/>
                <a:gd name="connsiteY131" fmla="*/ 580076 h 580204"/>
                <a:gd name="connsiteX132" fmla="*/ 408718 w 899731"/>
                <a:gd name="connsiteY132" fmla="*/ 580076 h 580204"/>
                <a:gd name="connsiteX133" fmla="*/ 408718 w 899731"/>
                <a:gd name="connsiteY133" fmla="*/ 539976 h 580204"/>
                <a:gd name="connsiteX134" fmla="*/ 406908 w 899731"/>
                <a:gd name="connsiteY134" fmla="*/ 539976 h 580204"/>
                <a:gd name="connsiteX135" fmla="*/ 352425 w 899731"/>
                <a:gd name="connsiteY135" fmla="*/ 516354 h 580204"/>
                <a:gd name="connsiteX136" fmla="*/ 494919 w 899731"/>
                <a:gd name="connsiteY136" fmla="*/ 516354 h 580204"/>
                <a:gd name="connsiteX137" fmla="*/ 494062 w 899731"/>
                <a:gd name="connsiteY137" fmla="*/ 401292 h 580204"/>
                <a:gd name="connsiteX138" fmla="*/ 549116 w 899731"/>
                <a:gd name="connsiteY138" fmla="*/ 377956 h 580204"/>
                <a:gd name="connsiteX139" fmla="*/ 550926 w 899731"/>
                <a:gd name="connsiteY139" fmla="*/ 377956 h 580204"/>
                <a:gd name="connsiteX140" fmla="*/ 550926 w 899731"/>
                <a:gd name="connsiteY140" fmla="*/ 337855 h 580204"/>
                <a:gd name="connsiteX141" fmla="*/ 549116 w 899731"/>
                <a:gd name="connsiteY141" fmla="*/ 337855 h 580204"/>
                <a:gd name="connsiteX142" fmla="*/ 463391 w 899731"/>
                <a:gd name="connsiteY142" fmla="*/ 372622 h 580204"/>
                <a:gd name="connsiteX143" fmla="*/ 436626 w 899731"/>
                <a:gd name="connsiteY143" fmla="*/ 459109 h 580204"/>
                <a:gd name="connsiteX144" fmla="*/ 465677 w 899731"/>
                <a:gd name="connsiteY144" fmla="*/ 545310 h 580204"/>
                <a:gd name="connsiteX145" fmla="*/ 549783 w 899731"/>
                <a:gd name="connsiteY145" fmla="*/ 580076 h 580204"/>
                <a:gd name="connsiteX146" fmla="*/ 551593 w 899731"/>
                <a:gd name="connsiteY146" fmla="*/ 580076 h 580204"/>
                <a:gd name="connsiteX147" fmla="*/ 551593 w 899731"/>
                <a:gd name="connsiteY147" fmla="*/ 539976 h 580204"/>
                <a:gd name="connsiteX148" fmla="*/ 549783 w 899731"/>
                <a:gd name="connsiteY148" fmla="*/ 539976 h 580204"/>
                <a:gd name="connsiteX149" fmla="*/ 494443 w 899731"/>
                <a:gd name="connsiteY149" fmla="*/ 516354 h 58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</a:cxnLst>
              <a:rect l="l" t="t" r="r" b="b"/>
              <a:pathLst>
                <a:path w="899731" h="580204">
                  <a:moveTo>
                    <a:pt x="247079" y="371002"/>
                  </a:moveTo>
                  <a:cubicBezTo>
                    <a:pt x="235267" y="349000"/>
                    <a:pt x="218504" y="337855"/>
                    <a:pt x="197263" y="337855"/>
                  </a:cubicBezTo>
                  <a:cubicBezTo>
                    <a:pt x="176022" y="337855"/>
                    <a:pt x="161163" y="349095"/>
                    <a:pt x="149638" y="371193"/>
                  </a:cubicBezTo>
                  <a:cubicBezTo>
                    <a:pt x="137329" y="398039"/>
                    <a:pt x="131520" y="427408"/>
                    <a:pt x="132683" y="456918"/>
                  </a:cubicBezTo>
                  <a:cubicBezTo>
                    <a:pt x="131407" y="486944"/>
                    <a:pt x="136943" y="516870"/>
                    <a:pt x="148876" y="544453"/>
                  </a:cubicBezTo>
                  <a:cubicBezTo>
                    <a:pt x="159829" y="566455"/>
                    <a:pt x="176022" y="577600"/>
                    <a:pt x="197167" y="577600"/>
                  </a:cubicBezTo>
                  <a:cubicBezTo>
                    <a:pt x="218313" y="577600"/>
                    <a:pt x="235267" y="565884"/>
                    <a:pt x="247555" y="542833"/>
                  </a:cubicBezTo>
                  <a:cubicBezTo>
                    <a:pt x="259925" y="515805"/>
                    <a:pt x="265734" y="486236"/>
                    <a:pt x="264509" y="456537"/>
                  </a:cubicBezTo>
                  <a:cubicBezTo>
                    <a:pt x="265724" y="426962"/>
                    <a:pt x="259709" y="397537"/>
                    <a:pt x="246983" y="370812"/>
                  </a:cubicBezTo>
                  <a:close/>
                  <a:moveTo>
                    <a:pt x="219075" y="517783"/>
                  </a:moveTo>
                  <a:cubicBezTo>
                    <a:pt x="214122" y="532927"/>
                    <a:pt x="206788" y="540547"/>
                    <a:pt x="197358" y="540547"/>
                  </a:cubicBezTo>
                  <a:cubicBezTo>
                    <a:pt x="187928" y="540547"/>
                    <a:pt x="181165" y="532737"/>
                    <a:pt x="176117" y="517497"/>
                  </a:cubicBezTo>
                  <a:cubicBezTo>
                    <a:pt x="170434" y="497952"/>
                    <a:pt x="167799" y="477647"/>
                    <a:pt x="168307" y="457299"/>
                  </a:cubicBezTo>
                  <a:cubicBezTo>
                    <a:pt x="167742" y="436986"/>
                    <a:pt x="170344" y="416708"/>
                    <a:pt x="176022" y="397196"/>
                  </a:cubicBezTo>
                  <a:cubicBezTo>
                    <a:pt x="180880" y="382528"/>
                    <a:pt x="188119" y="375003"/>
                    <a:pt x="197358" y="375003"/>
                  </a:cubicBezTo>
                  <a:cubicBezTo>
                    <a:pt x="206597" y="375003"/>
                    <a:pt x="215360" y="382337"/>
                    <a:pt x="220218" y="397482"/>
                  </a:cubicBezTo>
                  <a:cubicBezTo>
                    <a:pt x="225353" y="416793"/>
                    <a:pt x="227600" y="436758"/>
                    <a:pt x="226886" y="456727"/>
                  </a:cubicBezTo>
                  <a:cubicBezTo>
                    <a:pt x="227448" y="477360"/>
                    <a:pt x="224813" y="497956"/>
                    <a:pt x="219075" y="517783"/>
                  </a:cubicBezTo>
                  <a:close/>
                  <a:moveTo>
                    <a:pt x="325469" y="206601"/>
                  </a:moveTo>
                  <a:cubicBezTo>
                    <a:pt x="339269" y="179796"/>
                    <a:pt x="345835" y="149853"/>
                    <a:pt x="344519" y="119733"/>
                  </a:cubicBezTo>
                  <a:cubicBezTo>
                    <a:pt x="345828" y="89759"/>
                    <a:pt x="339051" y="59986"/>
                    <a:pt x="324898" y="33532"/>
                  </a:cubicBezTo>
                  <a:cubicBezTo>
                    <a:pt x="313982" y="12702"/>
                    <a:pt x="292310" y="-249"/>
                    <a:pt x="268796" y="4"/>
                  </a:cubicBezTo>
                  <a:cubicBezTo>
                    <a:pt x="245975" y="93"/>
                    <a:pt x="225201" y="13178"/>
                    <a:pt x="215265" y="33722"/>
                  </a:cubicBezTo>
                  <a:cubicBezTo>
                    <a:pt x="201513" y="60374"/>
                    <a:pt x="194947" y="90150"/>
                    <a:pt x="196215" y="120114"/>
                  </a:cubicBezTo>
                  <a:cubicBezTo>
                    <a:pt x="194832" y="150541"/>
                    <a:pt x="201086" y="180830"/>
                    <a:pt x="214408" y="208220"/>
                  </a:cubicBezTo>
                  <a:cubicBezTo>
                    <a:pt x="224414" y="229089"/>
                    <a:pt x="245655" y="242221"/>
                    <a:pt x="268796" y="241843"/>
                  </a:cubicBezTo>
                  <a:cubicBezTo>
                    <a:pt x="292858" y="241853"/>
                    <a:pt x="314835" y="228186"/>
                    <a:pt x="325469" y="206601"/>
                  </a:cubicBezTo>
                  <a:close/>
                  <a:moveTo>
                    <a:pt x="292608" y="180502"/>
                  </a:moveTo>
                  <a:cubicBezTo>
                    <a:pt x="287084" y="195457"/>
                    <a:pt x="279273" y="202696"/>
                    <a:pt x="268796" y="202696"/>
                  </a:cubicBezTo>
                  <a:cubicBezTo>
                    <a:pt x="258318" y="202696"/>
                    <a:pt x="251174" y="195361"/>
                    <a:pt x="245650" y="180121"/>
                  </a:cubicBezTo>
                  <a:cubicBezTo>
                    <a:pt x="239413" y="161009"/>
                    <a:pt x="236482" y="140974"/>
                    <a:pt x="236982" y="120876"/>
                  </a:cubicBezTo>
                  <a:cubicBezTo>
                    <a:pt x="236354" y="100622"/>
                    <a:pt x="239255" y="80414"/>
                    <a:pt x="245554" y="61154"/>
                  </a:cubicBezTo>
                  <a:cubicBezTo>
                    <a:pt x="250984" y="46581"/>
                    <a:pt x="258604" y="39532"/>
                    <a:pt x="268891" y="39532"/>
                  </a:cubicBezTo>
                  <a:cubicBezTo>
                    <a:pt x="279178" y="39532"/>
                    <a:pt x="288608" y="46676"/>
                    <a:pt x="293942" y="61440"/>
                  </a:cubicBezTo>
                  <a:cubicBezTo>
                    <a:pt x="299650" y="80517"/>
                    <a:pt x="302160" y="100407"/>
                    <a:pt x="301371" y="120304"/>
                  </a:cubicBezTo>
                  <a:cubicBezTo>
                    <a:pt x="301991" y="140846"/>
                    <a:pt x="299058" y="161340"/>
                    <a:pt x="292703" y="180883"/>
                  </a:cubicBezTo>
                  <a:close/>
                  <a:moveTo>
                    <a:pt x="39719" y="343761"/>
                  </a:moveTo>
                  <a:lnTo>
                    <a:pt x="0" y="343761"/>
                  </a:lnTo>
                  <a:lnTo>
                    <a:pt x="0" y="573028"/>
                  </a:lnTo>
                  <a:lnTo>
                    <a:pt x="38100" y="573028"/>
                  </a:lnTo>
                  <a:lnTo>
                    <a:pt x="38100" y="506353"/>
                  </a:lnTo>
                  <a:cubicBezTo>
                    <a:pt x="51153" y="519782"/>
                    <a:pt x="72621" y="520087"/>
                    <a:pt x="86050" y="507034"/>
                  </a:cubicBezTo>
                  <a:cubicBezTo>
                    <a:pt x="89061" y="504107"/>
                    <a:pt x="91502" y="500646"/>
                    <a:pt x="93250" y="496828"/>
                  </a:cubicBezTo>
                  <a:cubicBezTo>
                    <a:pt x="103489" y="476840"/>
                    <a:pt x="108192" y="454476"/>
                    <a:pt x="106871" y="432058"/>
                  </a:cubicBezTo>
                  <a:cubicBezTo>
                    <a:pt x="107206" y="413994"/>
                    <a:pt x="103462" y="396087"/>
                    <a:pt x="95917" y="379670"/>
                  </a:cubicBezTo>
                  <a:cubicBezTo>
                    <a:pt x="86535" y="357127"/>
                    <a:pt x="64117" y="342803"/>
                    <a:pt x="39719" y="343761"/>
                  </a:cubicBezTo>
                  <a:close/>
                  <a:moveTo>
                    <a:pt x="62960" y="468824"/>
                  </a:moveTo>
                  <a:cubicBezTo>
                    <a:pt x="59912" y="474730"/>
                    <a:pt x="56388" y="477682"/>
                    <a:pt x="52388" y="477682"/>
                  </a:cubicBezTo>
                  <a:cubicBezTo>
                    <a:pt x="48387" y="477682"/>
                    <a:pt x="45339" y="475111"/>
                    <a:pt x="42863" y="469872"/>
                  </a:cubicBezTo>
                  <a:cubicBezTo>
                    <a:pt x="39484" y="462240"/>
                    <a:pt x="37950" y="453919"/>
                    <a:pt x="38386" y="445583"/>
                  </a:cubicBezTo>
                  <a:lnTo>
                    <a:pt x="38386" y="378051"/>
                  </a:lnTo>
                  <a:lnTo>
                    <a:pt x="39910" y="378051"/>
                  </a:lnTo>
                  <a:cubicBezTo>
                    <a:pt x="49116" y="378312"/>
                    <a:pt x="57231" y="384163"/>
                    <a:pt x="60389" y="392815"/>
                  </a:cubicBezTo>
                  <a:cubicBezTo>
                    <a:pt x="66458" y="408354"/>
                    <a:pt x="69090" y="425024"/>
                    <a:pt x="68104" y="441678"/>
                  </a:cubicBezTo>
                  <a:cubicBezTo>
                    <a:pt x="68493" y="451001"/>
                    <a:pt x="66733" y="460289"/>
                    <a:pt x="62960" y="468824"/>
                  </a:cubicBezTo>
                  <a:close/>
                  <a:moveTo>
                    <a:pt x="43053" y="44676"/>
                  </a:moveTo>
                  <a:lnTo>
                    <a:pt x="95250" y="44676"/>
                  </a:lnTo>
                  <a:lnTo>
                    <a:pt x="95250" y="237367"/>
                  </a:lnTo>
                  <a:lnTo>
                    <a:pt x="137731" y="237367"/>
                  </a:lnTo>
                  <a:lnTo>
                    <a:pt x="137731" y="6576"/>
                  </a:lnTo>
                  <a:lnTo>
                    <a:pt x="571" y="6576"/>
                  </a:lnTo>
                  <a:lnTo>
                    <a:pt x="571" y="237748"/>
                  </a:lnTo>
                  <a:lnTo>
                    <a:pt x="43053" y="237748"/>
                  </a:lnTo>
                  <a:close/>
                  <a:moveTo>
                    <a:pt x="784288" y="124591"/>
                  </a:moveTo>
                  <a:lnTo>
                    <a:pt x="837343" y="124591"/>
                  </a:lnTo>
                  <a:lnTo>
                    <a:pt x="849249" y="237367"/>
                  </a:lnTo>
                  <a:lnTo>
                    <a:pt x="892112" y="237367"/>
                  </a:lnTo>
                  <a:lnTo>
                    <a:pt x="872490" y="68488"/>
                  </a:lnTo>
                  <a:cubicBezTo>
                    <a:pt x="873996" y="49718"/>
                    <a:pt x="866459" y="31355"/>
                    <a:pt x="852202" y="19054"/>
                  </a:cubicBezTo>
                  <a:cubicBezTo>
                    <a:pt x="839458" y="10072"/>
                    <a:pt x="824047" y="5673"/>
                    <a:pt x="808482" y="6576"/>
                  </a:cubicBezTo>
                  <a:lnTo>
                    <a:pt x="745522" y="6576"/>
                  </a:lnTo>
                  <a:lnTo>
                    <a:pt x="737711" y="237748"/>
                  </a:lnTo>
                  <a:lnTo>
                    <a:pt x="780193" y="237748"/>
                  </a:lnTo>
                  <a:close/>
                  <a:moveTo>
                    <a:pt x="786098" y="44676"/>
                  </a:moveTo>
                  <a:lnTo>
                    <a:pt x="801529" y="44676"/>
                  </a:lnTo>
                  <a:cubicBezTo>
                    <a:pt x="810453" y="43757"/>
                    <a:pt x="819204" y="47590"/>
                    <a:pt x="824579" y="54772"/>
                  </a:cubicBezTo>
                  <a:cubicBezTo>
                    <a:pt x="829309" y="64609"/>
                    <a:pt x="831998" y="75301"/>
                    <a:pt x="832485" y="86205"/>
                  </a:cubicBezTo>
                  <a:lnTo>
                    <a:pt x="784860" y="86205"/>
                  </a:lnTo>
                  <a:close/>
                  <a:moveTo>
                    <a:pt x="709898" y="335474"/>
                  </a:moveTo>
                  <a:lnTo>
                    <a:pt x="624935" y="424247"/>
                  </a:lnTo>
                  <a:lnTo>
                    <a:pt x="624935" y="343380"/>
                  </a:lnTo>
                  <a:lnTo>
                    <a:pt x="587788" y="343380"/>
                  </a:lnTo>
                  <a:lnTo>
                    <a:pt x="587788" y="573218"/>
                  </a:lnTo>
                  <a:lnTo>
                    <a:pt x="624935" y="573218"/>
                  </a:lnTo>
                  <a:lnTo>
                    <a:pt x="624935" y="478825"/>
                  </a:lnTo>
                  <a:lnTo>
                    <a:pt x="678847" y="421675"/>
                  </a:lnTo>
                  <a:lnTo>
                    <a:pt x="684276" y="573123"/>
                  </a:lnTo>
                  <a:lnTo>
                    <a:pt x="722376" y="573123"/>
                  </a:lnTo>
                  <a:lnTo>
                    <a:pt x="712851" y="332331"/>
                  </a:lnTo>
                  <a:close/>
                  <a:moveTo>
                    <a:pt x="611981" y="237462"/>
                  </a:moveTo>
                  <a:lnTo>
                    <a:pt x="654463" y="237462"/>
                  </a:lnTo>
                  <a:lnTo>
                    <a:pt x="654463" y="44676"/>
                  </a:lnTo>
                  <a:lnTo>
                    <a:pt x="690277" y="44676"/>
                  </a:lnTo>
                  <a:lnTo>
                    <a:pt x="690277" y="6576"/>
                  </a:lnTo>
                  <a:lnTo>
                    <a:pt x="576358" y="6576"/>
                  </a:lnTo>
                  <a:lnTo>
                    <a:pt x="576358" y="44676"/>
                  </a:lnTo>
                  <a:lnTo>
                    <a:pt x="611600" y="44676"/>
                  </a:lnTo>
                  <a:close/>
                  <a:moveTo>
                    <a:pt x="890207" y="332712"/>
                  </a:moveTo>
                  <a:lnTo>
                    <a:pt x="887254" y="335855"/>
                  </a:lnTo>
                  <a:lnTo>
                    <a:pt x="802291" y="424628"/>
                  </a:lnTo>
                  <a:lnTo>
                    <a:pt x="802291" y="343761"/>
                  </a:lnTo>
                  <a:lnTo>
                    <a:pt x="765143" y="343761"/>
                  </a:lnTo>
                  <a:lnTo>
                    <a:pt x="765143" y="573599"/>
                  </a:lnTo>
                  <a:lnTo>
                    <a:pt x="802291" y="573599"/>
                  </a:lnTo>
                  <a:lnTo>
                    <a:pt x="802291" y="479206"/>
                  </a:lnTo>
                  <a:lnTo>
                    <a:pt x="856202" y="422056"/>
                  </a:lnTo>
                  <a:cubicBezTo>
                    <a:pt x="856202" y="430343"/>
                    <a:pt x="861632" y="573504"/>
                    <a:pt x="861632" y="573504"/>
                  </a:cubicBezTo>
                  <a:lnTo>
                    <a:pt x="899732" y="573504"/>
                  </a:lnTo>
                  <a:close/>
                  <a:moveTo>
                    <a:pt x="482917" y="125829"/>
                  </a:moveTo>
                  <a:lnTo>
                    <a:pt x="482917" y="237462"/>
                  </a:lnTo>
                  <a:lnTo>
                    <a:pt x="525399" y="237462"/>
                  </a:lnTo>
                  <a:lnTo>
                    <a:pt x="525399" y="6576"/>
                  </a:lnTo>
                  <a:lnTo>
                    <a:pt x="482917" y="6576"/>
                  </a:lnTo>
                  <a:lnTo>
                    <a:pt x="482917" y="87062"/>
                  </a:lnTo>
                  <a:lnTo>
                    <a:pt x="459772" y="87062"/>
                  </a:lnTo>
                  <a:cubicBezTo>
                    <a:pt x="452155" y="87684"/>
                    <a:pt x="444588" y="85366"/>
                    <a:pt x="438626" y="80585"/>
                  </a:cubicBezTo>
                  <a:cubicBezTo>
                    <a:pt x="435287" y="77358"/>
                    <a:pt x="433514" y="72839"/>
                    <a:pt x="433768" y="68203"/>
                  </a:cubicBezTo>
                  <a:lnTo>
                    <a:pt x="433769" y="6576"/>
                  </a:lnTo>
                  <a:lnTo>
                    <a:pt x="391287" y="6576"/>
                  </a:lnTo>
                  <a:lnTo>
                    <a:pt x="391287" y="72298"/>
                  </a:lnTo>
                  <a:cubicBezTo>
                    <a:pt x="391171" y="87056"/>
                    <a:pt x="397757" y="101070"/>
                    <a:pt x="409194" y="110398"/>
                  </a:cubicBezTo>
                  <a:cubicBezTo>
                    <a:pt x="421081" y="120581"/>
                    <a:pt x="436314" y="126009"/>
                    <a:pt x="451961" y="125638"/>
                  </a:cubicBezTo>
                  <a:close/>
                  <a:moveTo>
                    <a:pt x="352044" y="516354"/>
                  </a:moveTo>
                  <a:cubicBezTo>
                    <a:pt x="328064" y="481845"/>
                    <a:pt x="327724" y="436155"/>
                    <a:pt x="351187" y="401292"/>
                  </a:cubicBezTo>
                  <a:cubicBezTo>
                    <a:pt x="364826" y="385259"/>
                    <a:pt x="385235" y="376608"/>
                    <a:pt x="406241" y="377956"/>
                  </a:cubicBezTo>
                  <a:lnTo>
                    <a:pt x="408051" y="377956"/>
                  </a:lnTo>
                  <a:lnTo>
                    <a:pt x="408051" y="337855"/>
                  </a:lnTo>
                  <a:lnTo>
                    <a:pt x="406241" y="337855"/>
                  </a:lnTo>
                  <a:cubicBezTo>
                    <a:pt x="368808" y="337855"/>
                    <a:pt x="339566" y="349571"/>
                    <a:pt x="320516" y="372622"/>
                  </a:cubicBezTo>
                  <a:cubicBezTo>
                    <a:pt x="302800" y="393481"/>
                    <a:pt x="293751" y="422628"/>
                    <a:pt x="293751" y="459109"/>
                  </a:cubicBezTo>
                  <a:cubicBezTo>
                    <a:pt x="292392" y="490453"/>
                    <a:pt x="302748" y="521182"/>
                    <a:pt x="322802" y="545310"/>
                  </a:cubicBezTo>
                  <a:cubicBezTo>
                    <a:pt x="344232" y="568887"/>
                    <a:pt x="375086" y="581641"/>
                    <a:pt x="406908" y="580076"/>
                  </a:cubicBezTo>
                  <a:lnTo>
                    <a:pt x="408718" y="580076"/>
                  </a:lnTo>
                  <a:lnTo>
                    <a:pt x="408718" y="539976"/>
                  </a:lnTo>
                  <a:lnTo>
                    <a:pt x="406908" y="539976"/>
                  </a:lnTo>
                  <a:cubicBezTo>
                    <a:pt x="386068" y="540967"/>
                    <a:pt x="365946" y="532243"/>
                    <a:pt x="352425" y="516354"/>
                  </a:cubicBezTo>
                  <a:close/>
                  <a:moveTo>
                    <a:pt x="494919" y="516354"/>
                  </a:moveTo>
                  <a:cubicBezTo>
                    <a:pt x="470939" y="481845"/>
                    <a:pt x="470599" y="436155"/>
                    <a:pt x="494062" y="401292"/>
                  </a:cubicBezTo>
                  <a:cubicBezTo>
                    <a:pt x="507701" y="385259"/>
                    <a:pt x="528110" y="376608"/>
                    <a:pt x="549116" y="377956"/>
                  </a:cubicBezTo>
                  <a:lnTo>
                    <a:pt x="550926" y="377956"/>
                  </a:lnTo>
                  <a:lnTo>
                    <a:pt x="550926" y="337855"/>
                  </a:lnTo>
                  <a:lnTo>
                    <a:pt x="549116" y="337855"/>
                  </a:lnTo>
                  <a:cubicBezTo>
                    <a:pt x="511683" y="337855"/>
                    <a:pt x="482441" y="349571"/>
                    <a:pt x="463391" y="372622"/>
                  </a:cubicBezTo>
                  <a:cubicBezTo>
                    <a:pt x="445675" y="393481"/>
                    <a:pt x="436626" y="422628"/>
                    <a:pt x="436626" y="459109"/>
                  </a:cubicBezTo>
                  <a:cubicBezTo>
                    <a:pt x="435267" y="490453"/>
                    <a:pt x="445623" y="521182"/>
                    <a:pt x="465677" y="545310"/>
                  </a:cubicBezTo>
                  <a:cubicBezTo>
                    <a:pt x="487107" y="568887"/>
                    <a:pt x="517961" y="581641"/>
                    <a:pt x="549783" y="580076"/>
                  </a:cubicBezTo>
                  <a:lnTo>
                    <a:pt x="551593" y="580076"/>
                  </a:lnTo>
                  <a:lnTo>
                    <a:pt x="551593" y="539976"/>
                  </a:lnTo>
                  <a:lnTo>
                    <a:pt x="549783" y="539976"/>
                  </a:lnTo>
                  <a:cubicBezTo>
                    <a:pt x="528649" y="541239"/>
                    <a:pt x="508150" y="532490"/>
                    <a:pt x="494443" y="51635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10" name="Прямая соединительная линия 9">
            <a:extLst>
              <a:ext uri="{FF2B5EF4-FFF2-40B4-BE49-F238E27FC236}">
                <a16:creationId xmlns="" xmlns:a16="http://schemas.microsoft.com/office/drawing/2014/main" id="{9F55601D-CDDF-42BB-AA8B-673A6A06ECE8}"/>
              </a:ext>
            </a:extLst>
          </p:cNvPr>
          <p:cNvCxnSpPr>
            <a:cxnSpLocks/>
          </p:cNvCxnSpPr>
          <p:nvPr/>
        </p:nvCxnSpPr>
        <p:spPr>
          <a:xfrm>
            <a:off x="821190" y="2241322"/>
            <a:ext cx="0" cy="3626078"/>
          </a:xfrm>
          <a:prstGeom prst="line">
            <a:avLst/>
          </a:prstGeom>
          <a:ln w="12700">
            <a:solidFill>
              <a:schemeClr val="bg1">
                <a:lumMod val="75000"/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17">
            <a:extLst>
              <a:ext uri="{FF2B5EF4-FFF2-40B4-BE49-F238E27FC236}">
                <a16:creationId xmlns="" xmlns:a16="http://schemas.microsoft.com/office/drawing/2014/main" id="{1E0511AF-36EF-4D94-9C84-289EBF7F78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11691" y="2557478"/>
            <a:ext cx="6513060" cy="1233592"/>
          </a:xfrm>
        </p:spPr>
        <p:txBody>
          <a:bodyPr/>
          <a:lstStyle/>
          <a:p>
            <a:pPr lvl="0">
              <a:defRPr/>
            </a:pPr>
            <a:r>
              <a:rPr lang="ru-RU" sz="3600" dirty="0" smtClean="0">
                <a:effectLst/>
                <a:latin typeface="Arial" panose="020B0604020202020204" pitchFamily="34" charset="0"/>
                <a:ea typeface="Roboto Light" panose="02000000000000000000" pitchFamily="2" charset="0"/>
              </a:rPr>
              <a:t>АО </a:t>
            </a:r>
            <a:r>
              <a:rPr lang="ru-RU" sz="3600" dirty="0">
                <a:effectLst/>
                <a:latin typeface="Arial" panose="020B0604020202020204" pitchFamily="34" charset="0"/>
                <a:ea typeface="Roboto Light" panose="02000000000000000000" pitchFamily="2" charset="0"/>
              </a:rPr>
              <a:t>«Почта России</a:t>
            </a:r>
            <a:r>
              <a:rPr lang="ru-RU" sz="3600" dirty="0" smtClean="0">
                <a:effectLst/>
                <a:latin typeface="Arial" panose="020B0604020202020204" pitchFamily="34" charset="0"/>
                <a:ea typeface="Roboto Light" panose="02000000000000000000" pitchFamily="2" charset="0"/>
              </a:rPr>
              <a:t>»: перспективы применения БАС в почтовой логистике</a:t>
            </a:r>
            <a:endParaRPr lang="ru-RU" sz="3600" dirty="0">
              <a:effectLst/>
              <a:latin typeface="Arial" panose="020B0604020202020204" pitchFamily="34" charset="0"/>
              <a:ea typeface="Roboto Light" panose="02000000000000000000" pitchFamily="2" charset="0"/>
            </a:endParaRPr>
          </a:p>
        </p:txBody>
      </p:sp>
      <p:sp>
        <p:nvSpPr>
          <p:cNvPr id="12" name="Текст 18">
            <a:extLst>
              <a:ext uri="{FF2B5EF4-FFF2-40B4-BE49-F238E27FC236}">
                <a16:creationId xmlns="" xmlns:a16="http://schemas.microsoft.com/office/drawing/2014/main" id="{1F8D723D-E8C6-40AF-90D3-32B9BB5105C7}"/>
              </a:ext>
            </a:extLst>
          </p:cNvPr>
          <p:cNvSpPr txBox="1">
            <a:spLocks/>
          </p:cNvSpPr>
          <p:nvPr/>
        </p:nvSpPr>
        <p:spPr>
          <a:xfrm>
            <a:off x="1011690" y="5909786"/>
            <a:ext cx="5452475" cy="22513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smtClean="0"/>
              <a:t>Апрель </a:t>
            </a:r>
            <a:r>
              <a:rPr lang="ru-RU" sz="1600" dirty="0" smtClean="0"/>
              <a:t>2021 </a:t>
            </a:r>
            <a:r>
              <a:rPr lang="ru-RU" sz="1600" dirty="0"/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1647353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>
            <a:extLst>
              <a:ext uri="{FF2B5EF4-FFF2-40B4-BE49-F238E27FC236}">
                <a16:creationId xmlns="" xmlns:a16="http://schemas.microsoft.com/office/drawing/2014/main" id="{1823E559-CF4F-46F0-98C4-4C0CBA77CA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22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Rectangle 71" hidden="1">
            <a:extLst>
              <a:ext uri="{FF2B5EF4-FFF2-40B4-BE49-F238E27FC236}">
                <a16:creationId xmlns="" xmlns:a16="http://schemas.microsoft.com/office/drawing/2014/main" id="{77696AA7-2507-4E13-8D6B-0161C9A278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tx2"/>
              </a:gs>
              <a:gs pos="87000">
                <a:schemeClr val="tx2">
                  <a:lumMod val="75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ru-RU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Рисунок 13">
            <a:extLst>
              <a:ext uri="{FF2B5EF4-FFF2-40B4-BE49-F238E27FC236}">
                <a16:creationId xmlns="" xmlns:a16="http://schemas.microsoft.com/office/drawing/2014/main" id="{43953E62-60EC-4AD2-87CB-8B8511B6DF3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39171">
            <a:off x="496099" y="900078"/>
            <a:ext cx="10478613" cy="5422463"/>
          </a:xfrm>
          <a:custGeom>
            <a:avLst/>
            <a:gdLst>
              <a:gd name="connsiteX0" fmla="*/ 0 w 9695937"/>
              <a:gd name="connsiteY0" fmla="*/ 0 h 6322712"/>
              <a:gd name="connsiteX1" fmla="*/ 9695937 w 9695937"/>
              <a:gd name="connsiteY1" fmla="*/ 532494 h 6322712"/>
              <a:gd name="connsiteX2" fmla="*/ 9695937 w 9695937"/>
              <a:gd name="connsiteY2" fmla="*/ 6322712 h 6322712"/>
              <a:gd name="connsiteX3" fmla="*/ 0 w 9695937"/>
              <a:gd name="connsiteY3" fmla="*/ 6322712 h 6322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95937" h="6322712">
                <a:moveTo>
                  <a:pt x="0" y="0"/>
                </a:moveTo>
                <a:lnTo>
                  <a:pt x="9695937" y="532494"/>
                </a:lnTo>
                <a:lnTo>
                  <a:pt x="9695937" y="6322712"/>
                </a:lnTo>
                <a:lnTo>
                  <a:pt x="0" y="6322712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3C4D484C-ABD2-4533-93BE-537D24A6C6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296921"/>
            <a:ext cx="10150475" cy="738664"/>
          </a:xfrm>
        </p:spPr>
        <p:txBody>
          <a:bodyPr/>
          <a:lstStyle/>
          <a:p>
            <a:r>
              <a:rPr lang="ru-RU" dirty="0"/>
              <a:t>Почта России является системообразующим инфраструктурным предприятием, связывающим миллионы людей по всей стране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AF9472DF-B376-4421-BF79-F30F835DB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9D5186-85BD-4647-9A01-8226F56382D2}" type="slidenum">
              <a:rPr lang="ru-RU" smtClean="0"/>
              <a:pPr/>
              <a:t>2</a:t>
            </a:fld>
            <a:endParaRPr lang="ru-RU" dirty="0"/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F49D19A1-FE8C-4072-AC89-3076B36F6327}"/>
              </a:ext>
            </a:extLst>
          </p:cNvPr>
          <p:cNvGrpSpPr/>
          <p:nvPr/>
        </p:nvGrpSpPr>
        <p:grpSpPr>
          <a:xfrm>
            <a:off x="855376" y="1103535"/>
            <a:ext cx="2473389" cy="989465"/>
            <a:chOff x="496343" y="1387733"/>
            <a:chExt cx="2473389" cy="989465"/>
          </a:xfrm>
        </p:grpSpPr>
        <p:grpSp>
          <p:nvGrpSpPr>
            <p:cNvPr id="64" name="Группа 11">
              <a:extLst>
                <a:ext uri="{FF2B5EF4-FFF2-40B4-BE49-F238E27FC236}">
                  <a16:creationId xmlns="" xmlns:a16="http://schemas.microsoft.com/office/drawing/2014/main" id="{EE5391EE-3ED4-46EC-A0B5-E787C43BDB12}"/>
                </a:ext>
              </a:extLst>
            </p:cNvPr>
            <p:cNvGrpSpPr/>
            <p:nvPr/>
          </p:nvGrpSpPr>
          <p:grpSpPr>
            <a:xfrm>
              <a:off x="496343" y="1387733"/>
              <a:ext cx="2473389" cy="989465"/>
              <a:chOff x="2845048" y="1270983"/>
              <a:chExt cx="2473389" cy="989465"/>
            </a:xfrm>
          </p:grpSpPr>
          <p:sp>
            <p:nvSpPr>
              <p:cNvPr id="70" name="Заголовок 1">
                <a:extLst>
                  <a:ext uri="{FF2B5EF4-FFF2-40B4-BE49-F238E27FC236}">
                    <a16:creationId xmlns="" xmlns:a16="http://schemas.microsoft.com/office/drawing/2014/main" id="{1BED0FCE-8895-468B-BE62-831DF533B42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134036" y="1270983"/>
                <a:ext cx="2184401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ru-RU" sz="2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9"/>
                    </a:solidFill>
                    <a:effectLst/>
                    <a:uLnTx/>
                    <a:uFillTx/>
                    <a:ea typeface="+mj-ea"/>
                    <a:cs typeface="+mj-cs"/>
                    <a:sym typeface="Arial"/>
                  </a:rPr>
                  <a:t>10</a:t>
                </a: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9"/>
                    </a:solidFill>
                    <a:effectLst/>
                    <a:uLnTx/>
                    <a:uFillTx/>
                    <a:ea typeface="+mj-ea"/>
                    <a:cs typeface="+mj-cs"/>
                    <a:sym typeface="Arial"/>
                  </a:rPr>
                  <a:t> млн человек </a:t>
                </a:r>
              </a:p>
            </p:txBody>
          </p:sp>
          <p:sp>
            <p:nvSpPr>
              <p:cNvPr id="71" name="Заголовок 1">
                <a:extLst>
                  <a:ext uri="{FF2B5EF4-FFF2-40B4-BE49-F238E27FC236}">
                    <a16:creationId xmlns="" xmlns:a16="http://schemas.microsoft.com/office/drawing/2014/main" id="{D8733839-5CBC-4DF2-B3F6-D6953A351A2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845048" y="1644895"/>
                <a:ext cx="2184230" cy="615553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+mn-lt"/>
                    <a:ea typeface="+mj-ea"/>
                    <a:cs typeface="+mj-cs"/>
                    <a:sym typeface="Arial"/>
                  </a:rPr>
                  <a:t>проживают в зоне обслуживания отделений, расположенных </a:t>
                </a:r>
                <a:b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+mn-lt"/>
                    <a:ea typeface="+mj-ea"/>
                    <a:cs typeface="+mj-cs"/>
                    <a:sym typeface="Arial"/>
                  </a:rPr>
                </a:b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+mn-lt"/>
                    <a:ea typeface="+mj-ea"/>
                    <a:cs typeface="+mj-cs"/>
                    <a:sym typeface="Arial"/>
                  </a:rPr>
                  <a:t>в районах Крайнего Севера </a:t>
                </a:r>
                <a:b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+mn-lt"/>
                    <a:ea typeface="+mj-ea"/>
                    <a:cs typeface="+mj-cs"/>
                    <a:sym typeface="Arial"/>
                  </a:rPr>
                </a:b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+mn-lt"/>
                    <a:ea typeface="+mj-ea"/>
                    <a:cs typeface="+mj-cs"/>
                    <a:sym typeface="Arial"/>
                  </a:rPr>
                  <a:t>и приравненных к ним местностях</a:t>
                </a:r>
              </a:p>
            </p:txBody>
          </p:sp>
        </p:grpSp>
        <p:grpSp>
          <p:nvGrpSpPr>
            <p:cNvPr id="65" name="Рисунок 4">
              <a:extLst>
                <a:ext uri="{FF2B5EF4-FFF2-40B4-BE49-F238E27FC236}">
                  <a16:creationId xmlns="" xmlns:a16="http://schemas.microsoft.com/office/drawing/2014/main" id="{9E8D9B2B-7282-4882-866B-5A9928E23175}"/>
                </a:ext>
              </a:extLst>
            </p:cNvPr>
            <p:cNvGrpSpPr/>
            <p:nvPr/>
          </p:nvGrpSpPr>
          <p:grpSpPr>
            <a:xfrm>
              <a:off x="502345" y="1488611"/>
              <a:ext cx="259703" cy="195051"/>
              <a:chOff x="501300" y="1136356"/>
              <a:chExt cx="259703" cy="195051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66" name="Полилиния: фигура 6">
                <a:extLst>
                  <a:ext uri="{FF2B5EF4-FFF2-40B4-BE49-F238E27FC236}">
                    <a16:creationId xmlns="" xmlns:a16="http://schemas.microsoft.com/office/drawing/2014/main" id="{1FE37566-3469-418D-BFFF-010EC601F611}"/>
                  </a:ext>
                </a:extLst>
              </p:cNvPr>
              <p:cNvSpPr/>
              <p:nvPr/>
            </p:nvSpPr>
            <p:spPr>
              <a:xfrm>
                <a:off x="594596" y="1244112"/>
                <a:ext cx="166407" cy="87295"/>
              </a:xfrm>
              <a:custGeom>
                <a:avLst/>
                <a:gdLst>
                  <a:gd name="connsiteX0" fmla="*/ 83749 w 166406"/>
                  <a:gd name="connsiteY0" fmla="*/ 0 h 87295"/>
                  <a:gd name="connsiteX1" fmla="*/ 0 w 166406"/>
                  <a:gd name="connsiteY1" fmla="*/ 83746 h 87295"/>
                  <a:gd name="connsiteX2" fmla="*/ 4092 w 166406"/>
                  <a:gd name="connsiteY2" fmla="*/ 87838 h 87295"/>
                  <a:gd name="connsiteX3" fmla="*/ 163406 w 166406"/>
                  <a:gd name="connsiteY3" fmla="*/ 87838 h 87295"/>
                  <a:gd name="connsiteX4" fmla="*/ 167498 w 166406"/>
                  <a:gd name="connsiteY4" fmla="*/ 83746 h 87295"/>
                  <a:gd name="connsiteX5" fmla="*/ 83749 w 166406"/>
                  <a:gd name="connsiteY5" fmla="*/ 0 h 87295"/>
                  <a:gd name="connsiteX6" fmla="*/ 8293 w 166406"/>
                  <a:gd name="connsiteY6" fmla="*/ 79657 h 87295"/>
                  <a:gd name="connsiteX7" fmla="*/ 83749 w 166406"/>
                  <a:gd name="connsiteY7" fmla="*/ 8184 h 87295"/>
                  <a:gd name="connsiteX8" fmla="*/ 159205 w 166406"/>
                  <a:gd name="connsiteY8" fmla="*/ 79657 h 87295"/>
                  <a:gd name="connsiteX9" fmla="*/ 8293 w 166406"/>
                  <a:gd name="connsiteY9" fmla="*/ 79657 h 87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406" h="87295">
                    <a:moveTo>
                      <a:pt x="83749" y="0"/>
                    </a:moveTo>
                    <a:cubicBezTo>
                      <a:pt x="37570" y="0"/>
                      <a:pt x="0" y="37567"/>
                      <a:pt x="0" y="83746"/>
                    </a:cubicBezTo>
                    <a:cubicBezTo>
                      <a:pt x="0" y="86005"/>
                      <a:pt x="1830" y="87838"/>
                      <a:pt x="4092" y="87838"/>
                    </a:cubicBezTo>
                    <a:lnTo>
                      <a:pt x="163406" y="87838"/>
                    </a:lnTo>
                    <a:cubicBezTo>
                      <a:pt x="165665" y="87838"/>
                      <a:pt x="167498" y="86005"/>
                      <a:pt x="167498" y="83746"/>
                    </a:cubicBezTo>
                    <a:cubicBezTo>
                      <a:pt x="167498" y="37570"/>
                      <a:pt x="129926" y="0"/>
                      <a:pt x="83749" y="0"/>
                    </a:cubicBezTo>
                    <a:close/>
                    <a:moveTo>
                      <a:pt x="8293" y="79657"/>
                    </a:moveTo>
                    <a:cubicBezTo>
                      <a:pt x="10426" y="39889"/>
                      <a:pt x="43454" y="8184"/>
                      <a:pt x="83749" y="8184"/>
                    </a:cubicBezTo>
                    <a:cubicBezTo>
                      <a:pt x="124044" y="8184"/>
                      <a:pt x="157072" y="39889"/>
                      <a:pt x="159205" y="79657"/>
                    </a:cubicBezTo>
                    <a:lnTo>
                      <a:pt x="8293" y="79657"/>
                    </a:lnTo>
                    <a:close/>
                  </a:path>
                </a:pathLst>
              </a:custGeom>
              <a:solidFill>
                <a:schemeClr val="accent1"/>
              </a:solidFill>
              <a:ln w="2667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7" name="Полилиния: фигура 7">
                <a:extLst>
                  <a:ext uri="{FF2B5EF4-FFF2-40B4-BE49-F238E27FC236}">
                    <a16:creationId xmlns="" xmlns:a16="http://schemas.microsoft.com/office/drawing/2014/main" id="{BDD4DD7D-825F-4F31-9B01-CD8EF3CE5824}"/>
                  </a:ext>
                </a:extLst>
              </p:cNvPr>
              <p:cNvSpPr/>
              <p:nvPr/>
            </p:nvSpPr>
            <p:spPr>
              <a:xfrm>
                <a:off x="628423" y="1136356"/>
                <a:ext cx="95479" cy="95479"/>
              </a:xfrm>
              <a:custGeom>
                <a:avLst/>
                <a:gdLst>
                  <a:gd name="connsiteX0" fmla="*/ 48285 w 95479"/>
                  <a:gd name="connsiteY0" fmla="*/ 96570 h 95479"/>
                  <a:gd name="connsiteX1" fmla="*/ 96570 w 95479"/>
                  <a:gd name="connsiteY1" fmla="*/ 48285 h 95479"/>
                  <a:gd name="connsiteX2" fmla="*/ 48285 w 95479"/>
                  <a:gd name="connsiteY2" fmla="*/ 0 h 95479"/>
                  <a:gd name="connsiteX3" fmla="*/ 0 w 95479"/>
                  <a:gd name="connsiteY3" fmla="*/ 48285 h 95479"/>
                  <a:gd name="connsiteX4" fmla="*/ 48285 w 95479"/>
                  <a:gd name="connsiteY4" fmla="*/ 96570 h 95479"/>
                  <a:gd name="connsiteX5" fmla="*/ 48285 w 95479"/>
                  <a:gd name="connsiteY5" fmla="*/ 8184 h 95479"/>
                  <a:gd name="connsiteX6" fmla="*/ 88387 w 95479"/>
                  <a:gd name="connsiteY6" fmla="*/ 48285 h 95479"/>
                  <a:gd name="connsiteX7" fmla="*/ 48285 w 95479"/>
                  <a:gd name="connsiteY7" fmla="*/ 88387 h 95479"/>
                  <a:gd name="connsiteX8" fmla="*/ 8184 w 95479"/>
                  <a:gd name="connsiteY8" fmla="*/ 48285 h 95479"/>
                  <a:gd name="connsiteX9" fmla="*/ 48285 w 95479"/>
                  <a:gd name="connsiteY9" fmla="*/ 8184 h 95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479" h="95479">
                    <a:moveTo>
                      <a:pt x="48285" y="96570"/>
                    </a:moveTo>
                    <a:cubicBezTo>
                      <a:pt x="74910" y="96570"/>
                      <a:pt x="96570" y="74910"/>
                      <a:pt x="96570" y="48285"/>
                    </a:cubicBezTo>
                    <a:cubicBezTo>
                      <a:pt x="96570" y="21660"/>
                      <a:pt x="74910" y="0"/>
                      <a:pt x="48285" y="0"/>
                    </a:cubicBezTo>
                    <a:cubicBezTo>
                      <a:pt x="21660" y="0"/>
                      <a:pt x="0" y="21660"/>
                      <a:pt x="0" y="48285"/>
                    </a:cubicBezTo>
                    <a:cubicBezTo>
                      <a:pt x="0" y="74910"/>
                      <a:pt x="21660" y="96570"/>
                      <a:pt x="48285" y="96570"/>
                    </a:cubicBezTo>
                    <a:close/>
                    <a:moveTo>
                      <a:pt x="48285" y="8184"/>
                    </a:moveTo>
                    <a:cubicBezTo>
                      <a:pt x="70396" y="8184"/>
                      <a:pt x="88387" y="26172"/>
                      <a:pt x="88387" y="48285"/>
                    </a:cubicBezTo>
                    <a:cubicBezTo>
                      <a:pt x="88387" y="70396"/>
                      <a:pt x="70396" y="88387"/>
                      <a:pt x="48285" y="88387"/>
                    </a:cubicBezTo>
                    <a:cubicBezTo>
                      <a:pt x="26175" y="88387"/>
                      <a:pt x="8184" y="70398"/>
                      <a:pt x="8184" y="48285"/>
                    </a:cubicBezTo>
                    <a:cubicBezTo>
                      <a:pt x="8184" y="26172"/>
                      <a:pt x="26175" y="8184"/>
                      <a:pt x="48285" y="818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67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8" name="Полилиния: фигура 8">
                <a:extLst>
                  <a:ext uri="{FF2B5EF4-FFF2-40B4-BE49-F238E27FC236}">
                    <a16:creationId xmlns="" xmlns:a16="http://schemas.microsoft.com/office/drawing/2014/main" id="{FC0F94F3-5C22-4D6F-97C5-CAE8FA1CAEC8}"/>
                  </a:ext>
                </a:extLst>
              </p:cNvPr>
              <p:cNvSpPr/>
              <p:nvPr/>
            </p:nvSpPr>
            <p:spPr>
              <a:xfrm>
                <a:off x="501300" y="1264571"/>
                <a:ext cx="95479" cy="65472"/>
              </a:xfrm>
              <a:custGeom>
                <a:avLst/>
                <a:gdLst>
                  <a:gd name="connsiteX0" fmla="*/ 63289 w 95479"/>
                  <a:gd name="connsiteY0" fmla="*/ 8184 h 65471"/>
                  <a:gd name="connsiteX1" fmla="*/ 91207 w 95479"/>
                  <a:gd name="connsiteY1" fmla="*/ 15795 h 65471"/>
                  <a:gd name="connsiteX2" fmla="*/ 96816 w 95479"/>
                  <a:gd name="connsiteY2" fmla="*/ 14366 h 65471"/>
                  <a:gd name="connsiteX3" fmla="*/ 95389 w 95479"/>
                  <a:gd name="connsiteY3" fmla="*/ 8757 h 65471"/>
                  <a:gd name="connsiteX4" fmla="*/ 63292 w 95479"/>
                  <a:gd name="connsiteY4" fmla="*/ 0 h 65471"/>
                  <a:gd name="connsiteX5" fmla="*/ 0 w 95479"/>
                  <a:gd name="connsiteY5" fmla="*/ 63289 h 65471"/>
                  <a:gd name="connsiteX6" fmla="*/ 4092 w 95479"/>
                  <a:gd name="connsiteY6" fmla="*/ 67381 h 65471"/>
                  <a:gd name="connsiteX7" fmla="*/ 77747 w 95479"/>
                  <a:gd name="connsiteY7" fmla="*/ 67381 h 65471"/>
                  <a:gd name="connsiteX8" fmla="*/ 81839 w 95479"/>
                  <a:gd name="connsiteY8" fmla="*/ 63289 h 65471"/>
                  <a:gd name="connsiteX9" fmla="*/ 77747 w 95479"/>
                  <a:gd name="connsiteY9" fmla="*/ 59197 h 65471"/>
                  <a:gd name="connsiteX10" fmla="*/ 8334 w 95479"/>
                  <a:gd name="connsiteY10" fmla="*/ 59197 h 65471"/>
                  <a:gd name="connsiteX11" fmla="*/ 63289 w 95479"/>
                  <a:gd name="connsiteY11" fmla="*/ 8184 h 6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5479" h="65471">
                    <a:moveTo>
                      <a:pt x="63289" y="8184"/>
                    </a:moveTo>
                    <a:cubicBezTo>
                      <a:pt x="73173" y="8184"/>
                      <a:pt x="82824" y="10816"/>
                      <a:pt x="91207" y="15795"/>
                    </a:cubicBezTo>
                    <a:cubicBezTo>
                      <a:pt x="93152" y="16949"/>
                      <a:pt x="95662" y="16308"/>
                      <a:pt x="96816" y="14366"/>
                    </a:cubicBezTo>
                    <a:cubicBezTo>
                      <a:pt x="97970" y="12423"/>
                      <a:pt x="97329" y="9913"/>
                      <a:pt x="95389" y="8757"/>
                    </a:cubicBezTo>
                    <a:cubicBezTo>
                      <a:pt x="85743" y="3028"/>
                      <a:pt x="74643" y="0"/>
                      <a:pt x="63292" y="0"/>
                    </a:cubicBezTo>
                    <a:cubicBezTo>
                      <a:pt x="28390" y="0"/>
                      <a:pt x="0" y="28393"/>
                      <a:pt x="0" y="63289"/>
                    </a:cubicBezTo>
                    <a:cubicBezTo>
                      <a:pt x="0" y="65548"/>
                      <a:pt x="1830" y="67381"/>
                      <a:pt x="4092" y="67381"/>
                    </a:cubicBezTo>
                    <a:lnTo>
                      <a:pt x="77747" y="67381"/>
                    </a:lnTo>
                    <a:cubicBezTo>
                      <a:pt x="80009" y="67381"/>
                      <a:pt x="81839" y="65548"/>
                      <a:pt x="81839" y="63289"/>
                    </a:cubicBezTo>
                    <a:cubicBezTo>
                      <a:pt x="81839" y="61030"/>
                      <a:pt x="80009" y="59197"/>
                      <a:pt x="77747" y="59197"/>
                    </a:cubicBezTo>
                    <a:lnTo>
                      <a:pt x="8334" y="59197"/>
                    </a:lnTo>
                    <a:cubicBezTo>
                      <a:pt x="10435" y="30714"/>
                      <a:pt x="34280" y="8184"/>
                      <a:pt x="63289" y="8184"/>
                    </a:cubicBezTo>
                    <a:close/>
                  </a:path>
                </a:pathLst>
              </a:custGeom>
              <a:grpFill/>
              <a:ln w="2667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9" name="Полилиния: фигура 9">
                <a:extLst>
                  <a:ext uri="{FF2B5EF4-FFF2-40B4-BE49-F238E27FC236}">
                    <a16:creationId xmlns="" xmlns:a16="http://schemas.microsoft.com/office/drawing/2014/main" id="{BA45CD9B-99AD-4729-A10D-51CE091C3CC0}"/>
                  </a:ext>
                </a:extLst>
              </p:cNvPr>
              <p:cNvSpPr/>
              <p:nvPr/>
            </p:nvSpPr>
            <p:spPr>
              <a:xfrm>
                <a:off x="526670" y="1177822"/>
                <a:ext cx="73655" cy="73655"/>
              </a:xfrm>
              <a:custGeom>
                <a:avLst/>
                <a:gdLst>
                  <a:gd name="connsiteX0" fmla="*/ 37101 w 73655"/>
                  <a:gd name="connsiteY0" fmla="*/ 74201 h 73655"/>
                  <a:gd name="connsiteX1" fmla="*/ 74201 w 73655"/>
                  <a:gd name="connsiteY1" fmla="*/ 37101 h 73655"/>
                  <a:gd name="connsiteX2" fmla="*/ 37101 w 73655"/>
                  <a:gd name="connsiteY2" fmla="*/ 0 h 73655"/>
                  <a:gd name="connsiteX3" fmla="*/ 0 w 73655"/>
                  <a:gd name="connsiteY3" fmla="*/ 37101 h 73655"/>
                  <a:gd name="connsiteX4" fmla="*/ 37101 w 73655"/>
                  <a:gd name="connsiteY4" fmla="*/ 74201 h 73655"/>
                  <a:gd name="connsiteX5" fmla="*/ 37101 w 73655"/>
                  <a:gd name="connsiteY5" fmla="*/ 8184 h 73655"/>
                  <a:gd name="connsiteX6" fmla="*/ 66017 w 73655"/>
                  <a:gd name="connsiteY6" fmla="*/ 37101 h 73655"/>
                  <a:gd name="connsiteX7" fmla="*/ 37101 w 73655"/>
                  <a:gd name="connsiteY7" fmla="*/ 66017 h 73655"/>
                  <a:gd name="connsiteX8" fmla="*/ 8184 w 73655"/>
                  <a:gd name="connsiteY8" fmla="*/ 37101 h 73655"/>
                  <a:gd name="connsiteX9" fmla="*/ 37101 w 73655"/>
                  <a:gd name="connsiteY9" fmla="*/ 8184 h 73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3655" h="73655">
                    <a:moveTo>
                      <a:pt x="37101" y="74201"/>
                    </a:moveTo>
                    <a:cubicBezTo>
                      <a:pt x="57558" y="74201"/>
                      <a:pt x="74201" y="57558"/>
                      <a:pt x="74201" y="37101"/>
                    </a:cubicBezTo>
                    <a:cubicBezTo>
                      <a:pt x="74201" y="16643"/>
                      <a:pt x="57558" y="0"/>
                      <a:pt x="37101" y="0"/>
                    </a:cubicBezTo>
                    <a:cubicBezTo>
                      <a:pt x="16643" y="0"/>
                      <a:pt x="0" y="16643"/>
                      <a:pt x="0" y="37101"/>
                    </a:cubicBezTo>
                    <a:cubicBezTo>
                      <a:pt x="0" y="57558"/>
                      <a:pt x="16643" y="74201"/>
                      <a:pt x="37101" y="74201"/>
                    </a:cubicBezTo>
                    <a:close/>
                    <a:moveTo>
                      <a:pt x="37101" y="8184"/>
                    </a:moveTo>
                    <a:cubicBezTo>
                      <a:pt x="53046" y="8184"/>
                      <a:pt x="66017" y="21155"/>
                      <a:pt x="66017" y="37101"/>
                    </a:cubicBezTo>
                    <a:cubicBezTo>
                      <a:pt x="66017" y="53046"/>
                      <a:pt x="53046" y="66017"/>
                      <a:pt x="37101" y="66017"/>
                    </a:cubicBezTo>
                    <a:cubicBezTo>
                      <a:pt x="21155" y="66017"/>
                      <a:pt x="8184" y="53046"/>
                      <a:pt x="8184" y="37101"/>
                    </a:cubicBezTo>
                    <a:cubicBezTo>
                      <a:pt x="8184" y="21155"/>
                      <a:pt x="21155" y="8184"/>
                      <a:pt x="37101" y="8184"/>
                    </a:cubicBezTo>
                    <a:close/>
                  </a:path>
                </a:pathLst>
              </a:custGeom>
              <a:grpFill/>
              <a:ln w="2667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50" name="Группа 12">
            <a:extLst>
              <a:ext uri="{FF2B5EF4-FFF2-40B4-BE49-F238E27FC236}">
                <a16:creationId xmlns="" xmlns:a16="http://schemas.microsoft.com/office/drawing/2014/main" id="{6ECB130D-4A47-4E4D-8C8D-B22833868C8C}"/>
              </a:ext>
            </a:extLst>
          </p:cNvPr>
          <p:cNvGrpSpPr/>
          <p:nvPr/>
        </p:nvGrpSpPr>
        <p:grpSpPr>
          <a:xfrm>
            <a:off x="4229362" y="1211990"/>
            <a:ext cx="2609320" cy="835577"/>
            <a:chOff x="622549" y="1270983"/>
            <a:chExt cx="1559644" cy="835577"/>
          </a:xfrm>
        </p:grpSpPr>
        <p:sp>
          <p:nvSpPr>
            <p:cNvPr id="62" name="Заголовок 1">
              <a:extLst>
                <a:ext uri="{FF2B5EF4-FFF2-40B4-BE49-F238E27FC236}">
                  <a16:creationId xmlns="" xmlns:a16="http://schemas.microsoft.com/office/drawing/2014/main" id="{8ADD8816-9E3E-4656-909D-F4BA7F8FF527}"/>
                </a:ext>
              </a:extLst>
            </p:cNvPr>
            <p:cNvSpPr txBox="1">
              <a:spLocks/>
            </p:cNvSpPr>
            <p:nvPr/>
          </p:nvSpPr>
          <p:spPr>
            <a:xfrm>
              <a:off x="942802" y="1270983"/>
              <a:ext cx="1239391" cy="73866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24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1489"/>
                  </a:solidFill>
                  <a:effectLst/>
                  <a:uLnTx/>
                  <a:uFillTx/>
                  <a:ea typeface="+mj-ea"/>
                  <a:cs typeface="+mj-cs"/>
                  <a:sym typeface="Arial"/>
                </a:rPr>
                <a:t> более</a:t>
              </a:r>
              <a:r>
                <a:rPr kumimoji="0" lang="ru-RU" sz="2400" i="0" u="none" strike="noStrike" kern="1200" cap="none" spc="0" normalizeH="0" noProof="0" dirty="0" smtClean="0">
                  <a:ln>
                    <a:noFill/>
                  </a:ln>
                  <a:solidFill>
                    <a:srgbClr val="001489"/>
                  </a:solidFill>
                  <a:effectLst/>
                  <a:uLnTx/>
                  <a:uFillTx/>
                  <a:ea typeface="+mj-ea"/>
                  <a:cs typeface="+mj-cs"/>
                  <a:sym typeface="Arial"/>
                </a:rPr>
                <a:t> </a:t>
              </a:r>
              <a:r>
                <a:rPr kumimoji="0" lang="ru-RU" sz="24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1489"/>
                  </a:solidFill>
                  <a:effectLst/>
                  <a:uLnTx/>
                  <a:uFillTx/>
                  <a:ea typeface="+mj-ea"/>
                  <a:cs typeface="+mj-cs"/>
                  <a:sym typeface="Arial"/>
                </a:rPr>
                <a:t>41 тыс.</a:t>
              </a:r>
              <a:endParaRPr kumimoji="0" lang="ru-RU" sz="2400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ea typeface="+mj-ea"/>
                <a:cs typeface="+mj-cs"/>
                <a:sym typeface="Arial"/>
              </a:endParaRPr>
            </a:p>
          </p:txBody>
        </p:sp>
        <p:sp>
          <p:nvSpPr>
            <p:cNvPr id="63" name="Заголовок 1">
              <a:extLst>
                <a:ext uri="{FF2B5EF4-FFF2-40B4-BE49-F238E27FC236}">
                  <a16:creationId xmlns="" xmlns:a16="http://schemas.microsoft.com/office/drawing/2014/main" id="{565F1D29-40B4-4C5B-898C-17DBB0CAF9CC}"/>
                </a:ext>
              </a:extLst>
            </p:cNvPr>
            <p:cNvSpPr txBox="1">
              <a:spLocks/>
            </p:cNvSpPr>
            <p:nvPr/>
          </p:nvSpPr>
          <p:spPr>
            <a:xfrm>
              <a:off x="622549" y="1644895"/>
              <a:ext cx="1373444" cy="4616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F1F1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rPr>
                <a:t>городских и сельских стационарных </a:t>
              </a:r>
              <a:b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F1F1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rPr>
              </a:b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1F1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rPr>
                <a:t>отделений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F1F1F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Arial"/>
              </a:endParaRPr>
            </a:p>
          </p:txBody>
        </p:sp>
      </p:grpSp>
      <p:grpSp>
        <p:nvGrpSpPr>
          <p:cNvPr id="51" name="Рисунок 34">
            <a:extLst>
              <a:ext uri="{FF2B5EF4-FFF2-40B4-BE49-F238E27FC236}">
                <a16:creationId xmlns="" xmlns:a16="http://schemas.microsoft.com/office/drawing/2014/main" id="{543EA99D-264D-4F7F-B98A-49F5C11863EE}"/>
              </a:ext>
            </a:extLst>
          </p:cNvPr>
          <p:cNvGrpSpPr/>
          <p:nvPr/>
        </p:nvGrpSpPr>
        <p:grpSpPr>
          <a:xfrm>
            <a:off x="4239915" y="1298259"/>
            <a:ext cx="253891" cy="216078"/>
            <a:chOff x="3050872" y="1119227"/>
            <a:chExt cx="253891" cy="21607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52" name="Полилиния: фигура 19">
              <a:extLst>
                <a:ext uri="{FF2B5EF4-FFF2-40B4-BE49-F238E27FC236}">
                  <a16:creationId xmlns="" xmlns:a16="http://schemas.microsoft.com/office/drawing/2014/main" id="{218F44EB-9DEC-4B60-A3F9-6D9C25AEE202}"/>
                </a:ext>
              </a:extLst>
            </p:cNvPr>
            <p:cNvSpPr/>
            <p:nvPr/>
          </p:nvSpPr>
          <p:spPr>
            <a:xfrm>
              <a:off x="3142705" y="1146236"/>
              <a:ext cx="8103" cy="24309"/>
            </a:xfrm>
            <a:custGeom>
              <a:avLst/>
              <a:gdLst>
                <a:gd name="connsiteX0" fmla="*/ 4051 w 8102"/>
                <a:gd name="connsiteY0" fmla="*/ 24309 h 24308"/>
                <a:gd name="connsiteX1" fmla="*/ 8103 w 8102"/>
                <a:gd name="connsiteY1" fmla="*/ 20257 h 24308"/>
                <a:gd name="connsiteX2" fmla="*/ 8103 w 8102"/>
                <a:gd name="connsiteY2" fmla="*/ 4051 h 24308"/>
                <a:gd name="connsiteX3" fmla="*/ 4051 w 8102"/>
                <a:gd name="connsiteY3" fmla="*/ 0 h 24308"/>
                <a:gd name="connsiteX4" fmla="*/ 0 w 8102"/>
                <a:gd name="connsiteY4" fmla="*/ 4051 h 24308"/>
                <a:gd name="connsiteX5" fmla="*/ 0 w 8102"/>
                <a:gd name="connsiteY5" fmla="*/ 20257 h 24308"/>
                <a:gd name="connsiteX6" fmla="*/ 4051 w 8102"/>
                <a:gd name="connsiteY6" fmla="*/ 24309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2" h="24308">
                  <a:moveTo>
                    <a:pt x="4051" y="24309"/>
                  </a:move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lnTo>
                    <a:pt x="0" y="20257"/>
                  </a:lnTo>
                  <a:cubicBezTo>
                    <a:pt x="0" y="22495"/>
                    <a:pt x="1814" y="24309"/>
                    <a:pt x="4051" y="24309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3" name="Полилиния: фигура 20">
              <a:extLst>
                <a:ext uri="{FF2B5EF4-FFF2-40B4-BE49-F238E27FC236}">
                  <a16:creationId xmlns="" xmlns:a16="http://schemas.microsoft.com/office/drawing/2014/main" id="{9CD3F45E-446E-4E8C-9DD7-9FB15CA8BF2F}"/>
                </a:ext>
              </a:extLst>
            </p:cNvPr>
            <p:cNvSpPr/>
            <p:nvPr/>
          </p:nvSpPr>
          <p:spPr>
            <a:xfrm>
              <a:off x="3177817" y="1146236"/>
              <a:ext cx="8103" cy="24309"/>
            </a:xfrm>
            <a:custGeom>
              <a:avLst/>
              <a:gdLst>
                <a:gd name="connsiteX0" fmla="*/ 4051 w 8102"/>
                <a:gd name="connsiteY0" fmla="*/ 24309 h 24308"/>
                <a:gd name="connsiteX1" fmla="*/ 8103 w 8102"/>
                <a:gd name="connsiteY1" fmla="*/ 20257 h 24308"/>
                <a:gd name="connsiteX2" fmla="*/ 8103 w 8102"/>
                <a:gd name="connsiteY2" fmla="*/ 4051 h 24308"/>
                <a:gd name="connsiteX3" fmla="*/ 4051 w 8102"/>
                <a:gd name="connsiteY3" fmla="*/ 0 h 24308"/>
                <a:gd name="connsiteX4" fmla="*/ 0 w 8102"/>
                <a:gd name="connsiteY4" fmla="*/ 4051 h 24308"/>
                <a:gd name="connsiteX5" fmla="*/ 0 w 8102"/>
                <a:gd name="connsiteY5" fmla="*/ 20257 h 24308"/>
                <a:gd name="connsiteX6" fmla="*/ 4051 w 8102"/>
                <a:gd name="connsiteY6" fmla="*/ 24309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2" h="24308">
                  <a:moveTo>
                    <a:pt x="4051" y="24309"/>
                  </a:move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lnTo>
                    <a:pt x="0" y="20257"/>
                  </a:lnTo>
                  <a:cubicBezTo>
                    <a:pt x="0" y="22495"/>
                    <a:pt x="1814" y="24309"/>
                    <a:pt x="4051" y="24309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4" name="Полилиния: фигура 21">
              <a:extLst>
                <a:ext uri="{FF2B5EF4-FFF2-40B4-BE49-F238E27FC236}">
                  <a16:creationId xmlns="" xmlns:a16="http://schemas.microsoft.com/office/drawing/2014/main" id="{573E4C4D-C04E-4A5A-B9C0-7AADF41EFF29}"/>
                </a:ext>
              </a:extLst>
            </p:cNvPr>
            <p:cNvSpPr/>
            <p:nvPr/>
          </p:nvSpPr>
          <p:spPr>
            <a:xfrm>
              <a:off x="3142705" y="1211060"/>
              <a:ext cx="8103" cy="24309"/>
            </a:xfrm>
            <a:custGeom>
              <a:avLst/>
              <a:gdLst>
                <a:gd name="connsiteX0" fmla="*/ 0 w 8102"/>
                <a:gd name="connsiteY0" fmla="*/ 20257 h 24308"/>
                <a:gd name="connsiteX1" fmla="*/ 4051 w 8102"/>
                <a:gd name="connsiteY1" fmla="*/ 24309 h 24308"/>
                <a:gd name="connsiteX2" fmla="*/ 8103 w 8102"/>
                <a:gd name="connsiteY2" fmla="*/ 20257 h 24308"/>
                <a:gd name="connsiteX3" fmla="*/ 8103 w 8102"/>
                <a:gd name="connsiteY3" fmla="*/ 4051 h 24308"/>
                <a:gd name="connsiteX4" fmla="*/ 4051 w 8102"/>
                <a:gd name="connsiteY4" fmla="*/ 0 h 24308"/>
                <a:gd name="connsiteX5" fmla="*/ 0 w 8102"/>
                <a:gd name="connsiteY5" fmla="*/ 4051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02" h="24308">
                  <a:moveTo>
                    <a:pt x="0" y="20257"/>
                  </a:move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5" name="Полилиния: фигура 22">
              <a:extLst>
                <a:ext uri="{FF2B5EF4-FFF2-40B4-BE49-F238E27FC236}">
                  <a16:creationId xmlns="" xmlns:a16="http://schemas.microsoft.com/office/drawing/2014/main" id="{F76E1F68-5732-456C-A311-133271C61E3A}"/>
                </a:ext>
              </a:extLst>
            </p:cNvPr>
            <p:cNvSpPr/>
            <p:nvPr/>
          </p:nvSpPr>
          <p:spPr>
            <a:xfrm>
              <a:off x="3177817" y="1211060"/>
              <a:ext cx="8103" cy="24309"/>
            </a:xfrm>
            <a:custGeom>
              <a:avLst/>
              <a:gdLst>
                <a:gd name="connsiteX0" fmla="*/ 0 w 8102"/>
                <a:gd name="connsiteY0" fmla="*/ 20257 h 24308"/>
                <a:gd name="connsiteX1" fmla="*/ 4051 w 8102"/>
                <a:gd name="connsiteY1" fmla="*/ 24309 h 24308"/>
                <a:gd name="connsiteX2" fmla="*/ 8103 w 8102"/>
                <a:gd name="connsiteY2" fmla="*/ 20257 h 24308"/>
                <a:gd name="connsiteX3" fmla="*/ 8103 w 8102"/>
                <a:gd name="connsiteY3" fmla="*/ 4051 h 24308"/>
                <a:gd name="connsiteX4" fmla="*/ 4051 w 8102"/>
                <a:gd name="connsiteY4" fmla="*/ 0 h 24308"/>
                <a:gd name="connsiteX5" fmla="*/ 0 w 8102"/>
                <a:gd name="connsiteY5" fmla="*/ 4051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02" h="24308">
                  <a:moveTo>
                    <a:pt x="0" y="20257"/>
                  </a:move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6" name="Полилиния: фигура 36">
              <a:extLst>
                <a:ext uri="{FF2B5EF4-FFF2-40B4-BE49-F238E27FC236}">
                  <a16:creationId xmlns="" xmlns:a16="http://schemas.microsoft.com/office/drawing/2014/main" id="{62FDEB25-23D2-44E9-BB37-0F602A32810E}"/>
                </a:ext>
              </a:extLst>
            </p:cNvPr>
            <p:cNvSpPr/>
            <p:nvPr/>
          </p:nvSpPr>
          <p:spPr>
            <a:xfrm>
              <a:off x="3142705" y="1275883"/>
              <a:ext cx="8103" cy="24309"/>
            </a:xfrm>
            <a:custGeom>
              <a:avLst/>
              <a:gdLst>
                <a:gd name="connsiteX0" fmla="*/ 0 w 8102"/>
                <a:gd name="connsiteY0" fmla="*/ 20257 h 24308"/>
                <a:gd name="connsiteX1" fmla="*/ 4051 w 8102"/>
                <a:gd name="connsiteY1" fmla="*/ 24309 h 24308"/>
                <a:gd name="connsiteX2" fmla="*/ 8103 w 8102"/>
                <a:gd name="connsiteY2" fmla="*/ 20257 h 24308"/>
                <a:gd name="connsiteX3" fmla="*/ 8103 w 8102"/>
                <a:gd name="connsiteY3" fmla="*/ 4051 h 24308"/>
                <a:gd name="connsiteX4" fmla="*/ 4051 w 8102"/>
                <a:gd name="connsiteY4" fmla="*/ 0 h 24308"/>
                <a:gd name="connsiteX5" fmla="*/ 0 w 8102"/>
                <a:gd name="connsiteY5" fmla="*/ 4051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02" h="24308">
                  <a:moveTo>
                    <a:pt x="0" y="20257"/>
                  </a:move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7" name="Полилиния: фигура 37">
              <a:extLst>
                <a:ext uri="{FF2B5EF4-FFF2-40B4-BE49-F238E27FC236}">
                  <a16:creationId xmlns="" xmlns:a16="http://schemas.microsoft.com/office/drawing/2014/main" id="{ED26B8FB-21DF-4287-B79E-1807B7EBF14D}"/>
                </a:ext>
              </a:extLst>
            </p:cNvPr>
            <p:cNvSpPr/>
            <p:nvPr/>
          </p:nvSpPr>
          <p:spPr>
            <a:xfrm>
              <a:off x="3177817" y="1275883"/>
              <a:ext cx="8103" cy="24309"/>
            </a:xfrm>
            <a:custGeom>
              <a:avLst/>
              <a:gdLst>
                <a:gd name="connsiteX0" fmla="*/ 0 w 8102"/>
                <a:gd name="connsiteY0" fmla="*/ 20257 h 24308"/>
                <a:gd name="connsiteX1" fmla="*/ 4051 w 8102"/>
                <a:gd name="connsiteY1" fmla="*/ 24309 h 24308"/>
                <a:gd name="connsiteX2" fmla="*/ 8103 w 8102"/>
                <a:gd name="connsiteY2" fmla="*/ 20257 h 24308"/>
                <a:gd name="connsiteX3" fmla="*/ 8103 w 8102"/>
                <a:gd name="connsiteY3" fmla="*/ 4051 h 24308"/>
                <a:gd name="connsiteX4" fmla="*/ 4051 w 8102"/>
                <a:gd name="connsiteY4" fmla="*/ 0 h 24308"/>
                <a:gd name="connsiteX5" fmla="*/ 0 w 8102"/>
                <a:gd name="connsiteY5" fmla="*/ 4051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02" h="24308">
                  <a:moveTo>
                    <a:pt x="0" y="20257"/>
                  </a:move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8" name="Полилиния: фигура 38">
              <a:extLst>
                <a:ext uri="{FF2B5EF4-FFF2-40B4-BE49-F238E27FC236}">
                  <a16:creationId xmlns="" xmlns:a16="http://schemas.microsoft.com/office/drawing/2014/main" id="{1505940A-7C08-44C1-BC63-FD0586724244}"/>
                </a:ext>
              </a:extLst>
            </p:cNvPr>
            <p:cNvSpPr/>
            <p:nvPr/>
          </p:nvSpPr>
          <p:spPr>
            <a:xfrm>
              <a:off x="3077882" y="1213761"/>
              <a:ext cx="8103" cy="24309"/>
            </a:xfrm>
            <a:custGeom>
              <a:avLst/>
              <a:gdLst>
                <a:gd name="connsiteX0" fmla="*/ 4051 w 8102"/>
                <a:gd name="connsiteY0" fmla="*/ 0 h 24308"/>
                <a:gd name="connsiteX1" fmla="*/ 0 w 8102"/>
                <a:gd name="connsiteY1" fmla="*/ 4051 h 24308"/>
                <a:gd name="connsiteX2" fmla="*/ 0 w 8102"/>
                <a:gd name="connsiteY2" fmla="*/ 20257 h 24308"/>
                <a:gd name="connsiteX3" fmla="*/ 4051 w 8102"/>
                <a:gd name="connsiteY3" fmla="*/ 24309 h 24308"/>
                <a:gd name="connsiteX4" fmla="*/ 8103 w 8102"/>
                <a:gd name="connsiteY4" fmla="*/ 20257 h 24308"/>
                <a:gd name="connsiteX5" fmla="*/ 8103 w 8102"/>
                <a:gd name="connsiteY5" fmla="*/ 4051 h 24308"/>
                <a:gd name="connsiteX6" fmla="*/ 4051 w 8102"/>
                <a:gd name="connsiteY6" fmla="*/ 0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2" h="24308">
                  <a:moveTo>
                    <a:pt x="4051" y="0"/>
                  </a:moveTo>
                  <a:cubicBezTo>
                    <a:pt x="1814" y="0"/>
                    <a:pt x="0" y="1814"/>
                    <a:pt x="0" y="4051"/>
                  </a:cubicBezTo>
                  <a:lnTo>
                    <a:pt x="0" y="20257"/>
                  </a:ln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9" name="Полилиния: фигура 39">
              <a:extLst>
                <a:ext uri="{FF2B5EF4-FFF2-40B4-BE49-F238E27FC236}">
                  <a16:creationId xmlns="" xmlns:a16="http://schemas.microsoft.com/office/drawing/2014/main" id="{5D1F07B8-37C4-4DB5-A3D0-564C26A6DECB}"/>
                </a:ext>
              </a:extLst>
            </p:cNvPr>
            <p:cNvSpPr/>
            <p:nvPr/>
          </p:nvSpPr>
          <p:spPr>
            <a:xfrm>
              <a:off x="3234538" y="1235368"/>
              <a:ext cx="8103" cy="24309"/>
            </a:xfrm>
            <a:custGeom>
              <a:avLst/>
              <a:gdLst>
                <a:gd name="connsiteX0" fmla="*/ 0 w 8102"/>
                <a:gd name="connsiteY0" fmla="*/ 4051 h 24308"/>
                <a:gd name="connsiteX1" fmla="*/ 0 w 8102"/>
                <a:gd name="connsiteY1" fmla="*/ 20257 h 24308"/>
                <a:gd name="connsiteX2" fmla="*/ 4051 w 8102"/>
                <a:gd name="connsiteY2" fmla="*/ 24309 h 24308"/>
                <a:gd name="connsiteX3" fmla="*/ 8103 w 8102"/>
                <a:gd name="connsiteY3" fmla="*/ 20257 h 24308"/>
                <a:gd name="connsiteX4" fmla="*/ 8103 w 8102"/>
                <a:gd name="connsiteY4" fmla="*/ 4051 h 24308"/>
                <a:gd name="connsiteX5" fmla="*/ 4051 w 8102"/>
                <a:gd name="connsiteY5" fmla="*/ 0 h 24308"/>
                <a:gd name="connsiteX6" fmla="*/ 0 w 8102"/>
                <a:gd name="connsiteY6" fmla="*/ 4051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2" h="24308">
                  <a:moveTo>
                    <a:pt x="0" y="4051"/>
                  </a:moveTo>
                  <a:lnTo>
                    <a:pt x="0" y="20257"/>
                  </a:ln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0" name="Полилиния: фигура 44">
              <a:extLst>
                <a:ext uri="{FF2B5EF4-FFF2-40B4-BE49-F238E27FC236}">
                  <a16:creationId xmlns="" xmlns:a16="http://schemas.microsoft.com/office/drawing/2014/main" id="{4B7FADE0-5EB8-4167-B4A1-9FF5504A8FA0}"/>
                </a:ext>
              </a:extLst>
            </p:cNvPr>
            <p:cNvSpPr/>
            <p:nvPr/>
          </p:nvSpPr>
          <p:spPr>
            <a:xfrm>
              <a:off x="3269650" y="1235368"/>
              <a:ext cx="8103" cy="24309"/>
            </a:xfrm>
            <a:custGeom>
              <a:avLst/>
              <a:gdLst>
                <a:gd name="connsiteX0" fmla="*/ 4051 w 8102"/>
                <a:gd name="connsiteY0" fmla="*/ 0 h 24308"/>
                <a:gd name="connsiteX1" fmla="*/ 0 w 8102"/>
                <a:gd name="connsiteY1" fmla="*/ 4051 h 24308"/>
                <a:gd name="connsiteX2" fmla="*/ 0 w 8102"/>
                <a:gd name="connsiteY2" fmla="*/ 20257 h 24308"/>
                <a:gd name="connsiteX3" fmla="*/ 4051 w 8102"/>
                <a:gd name="connsiteY3" fmla="*/ 24309 h 24308"/>
                <a:gd name="connsiteX4" fmla="*/ 8103 w 8102"/>
                <a:gd name="connsiteY4" fmla="*/ 20257 h 24308"/>
                <a:gd name="connsiteX5" fmla="*/ 8103 w 8102"/>
                <a:gd name="connsiteY5" fmla="*/ 4051 h 24308"/>
                <a:gd name="connsiteX6" fmla="*/ 4051 w 8102"/>
                <a:gd name="connsiteY6" fmla="*/ 0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2" h="24308">
                  <a:moveTo>
                    <a:pt x="4051" y="0"/>
                  </a:moveTo>
                  <a:cubicBezTo>
                    <a:pt x="1814" y="0"/>
                    <a:pt x="0" y="1814"/>
                    <a:pt x="0" y="4051"/>
                  </a:cubicBezTo>
                  <a:lnTo>
                    <a:pt x="0" y="20257"/>
                  </a:ln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1" name="Полилиния: фигура 45">
              <a:extLst>
                <a:ext uri="{FF2B5EF4-FFF2-40B4-BE49-F238E27FC236}">
                  <a16:creationId xmlns="" xmlns:a16="http://schemas.microsoft.com/office/drawing/2014/main" id="{61A4A107-30BE-402E-B204-EB4D02AC217C}"/>
                </a:ext>
              </a:extLst>
            </p:cNvPr>
            <p:cNvSpPr/>
            <p:nvPr/>
          </p:nvSpPr>
          <p:spPr>
            <a:xfrm>
              <a:off x="3050872" y="1119227"/>
              <a:ext cx="253891" cy="216078"/>
            </a:xfrm>
            <a:custGeom>
              <a:avLst/>
              <a:gdLst>
                <a:gd name="connsiteX0" fmla="*/ 252784 w 253891"/>
                <a:gd name="connsiteY0" fmla="*/ 85837 h 216077"/>
                <a:gd name="connsiteX1" fmla="*/ 207462 w 253891"/>
                <a:gd name="connsiteY1" fmla="*/ 37625 h 216077"/>
                <a:gd name="connsiteX2" fmla="*/ 204544 w 253891"/>
                <a:gd name="connsiteY2" fmla="*/ 36355 h 216077"/>
                <a:gd name="connsiteX3" fmla="*/ 201600 w 253891"/>
                <a:gd name="connsiteY3" fmla="*/ 37570 h 216077"/>
                <a:gd name="connsiteX4" fmla="*/ 162058 w 253891"/>
                <a:gd name="connsiteY4" fmla="*/ 78328 h 216077"/>
                <a:gd name="connsiteX5" fmla="*/ 162058 w 253891"/>
                <a:gd name="connsiteY5" fmla="*/ 4051 h 216077"/>
                <a:gd name="connsiteX6" fmla="*/ 158007 w 253891"/>
                <a:gd name="connsiteY6" fmla="*/ 0 h 216077"/>
                <a:gd name="connsiteX7" fmla="*/ 66174 w 253891"/>
                <a:gd name="connsiteY7" fmla="*/ 0 h 216077"/>
                <a:gd name="connsiteX8" fmla="*/ 62122 w 253891"/>
                <a:gd name="connsiteY8" fmla="*/ 4051 h 216077"/>
                <a:gd name="connsiteX9" fmla="*/ 62122 w 253891"/>
                <a:gd name="connsiteY9" fmla="*/ 59421 h 216077"/>
                <a:gd name="connsiteX10" fmla="*/ 4051 w 253891"/>
                <a:gd name="connsiteY10" fmla="*/ 59421 h 216077"/>
                <a:gd name="connsiteX11" fmla="*/ 0 w 253891"/>
                <a:gd name="connsiteY11" fmla="*/ 63473 h 216077"/>
                <a:gd name="connsiteX12" fmla="*/ 0 w 253891"/>
                <a:gd name="connsiteY12" fmla="*/ 152605 h 216077"/>
                <a:gd name="connsiteX13" fmla="*/ 4051 w 253891"/>
                <a:gd name="connsiteY13" fmla="*/ 156656 h 216077"/>
                <a:gd name="connsiteX14" fmla="*/ 8103 w 253891"/>
                <a:gd name="connsiteY14" fmla="*/ 152605 h 216077"/>
                <a:gd name="connsiteX15" fmla="*/ 8103 w 253891"/>
                <a:gd name="connsiteY15" fmla="*/ 67524 h 216077"/>
                <a:gd name="connsiteX16" fmla="*/ 62122 w 253891"/>
                <a:gd name="connsiteY16" fmla="*/ 67524 h 216077"/>
                <a:gd name="connsiteX17" fmla="*/ 62122 w 253891"/>
                <a:gd name="connsiteY17" fmla="*/ 122894 h 216077"/>
                <a:gd name="connsiteX18" fmla="*/ 66174 w 253891"/>
                <a:gd name="connsiteY18" fmla="*/ 126946 h 216077"/>
                <a:gd name="connsiteX19" fmla="*/ 70225 w 253891"/>
                <a:gd name="connsiteY19" fmla="*/ 122894 h 216077"/>
                <a:gd name="connsiteX20" fmla="*/ 70225 w 253891"/>
                <a:gd name="connsiteY20" fmla="*/ 8103 h 216077"/>
                <a:gd name="connsiteX21" fmla="*/ 153955 w 253891"/>
                <a:gd name="connsiteY21" fmla="*/ 8103 h 216077"/>
                <a:gd name="connsiteX22" fmla="*/ 153955 w 253891"/>
                <a:gd name="connsiteY22" fmla="*/ 207975 h 216077"/>
                <a:gd name="connsiteX23" fmla="*/ 44566 w 253891"/>
                <a:gd name="connsiteY23" fmla="*/ 207975 h 216077"/>
                <a:gd name="connsiteX24" fmla="*/ 40515 w 253891"/>
                <a:gd name="connsiteY24" fmla="*/ 212026 h 216077"/>
                <a:gd name="connsiteX25" fmla="*/ 44566 w 253891"/>
                <a:gd name="connsiteY25" fmla="*/ 216078 h 216077"/>
                <a:gd name="connsiteX26" fmla="*/ 206624 w 253891"/>
                <a:gd name="connsiteY26" fmla="*/ 216078 h 216077"/>
                <a:gd name="connsiteX27" fmla="*/ 210676 w 253891"/>
                <a:gd name="connsiteY27" fmla="*/ 212026 h 216077"/>
                <a:gd name="connsiteX28" fmla="*/ 206624 w 253891"/>
                <a:gd name="connsiteY28" fmla="*/ 207975 h 216077"/>
                <a:gd name="connsiteX29" fmla="*/ 162058 w 253891"/>
                <a:gd name="connsiteY29" fmla="*/ 207975 h 216077"/>
                <a:gd name="connsiteX30" fmla="*/ 162058 w 253891"/>
                <a:gd name="connsiteY30" fmla="*/ 89807 h 216077"/>
                <a:gd name="connsiteX31" fmla="*/ 204463 w 253891"/>
                <a:gd name="connsiteY31" fmla="*/ 46268 h 216077"/>
                <a:gd name="connsiteX32" fmla="*/ 245788 w 253891"/>
                <a:gd name="connsiteY32" fmla="*/ 90212 h 216077"/>
                <a:gd name="connsiteX33" fmla="*/ 245788 w 253891"/>
                <a:gd name="connsiteY33" fmla="*/ 147203 h 216077"/>
                <a:gd name="connsiteX34" fmla="*/ 249840 w 253891"/>
                <a:gd name="connsiteY34" fmla="*/ 151254 h 216077"/>
                <a:gd name="connsiteX35" fmla="*/ 253891 w 253891"/>
                <a:gd name="connsiteY35" fmla="*/ 147203 h 216077"/>
                <a:gd name="connsiteX36" fmla="*/ 253891 w 253891"/>
                <a:gd name="connsiteY36" fmla="*/ 88592 h 216077"/>
                <a:gd name="connsiteX37" fmla="*/ 252784 w 253891"/>
                <a:gd name="connsiteY37" fmla="*/ 85837 h 216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53891" h="216077">
                  <a:moveTo>
                    <a:pt x="252784" y="85837"/>
                  </a:moveTo>
                  <a:lnTo>
                    <a:pt x="207462" y="37625"/>
                  </a:lnTo>
                  <a:cubicBezTo>
                    <a:pt x="206703" y="36821"/>
                    <a:pt x="205649" y="36363"/>
                    <a:pt x="204544" y="36355"/>
                  </a:cubicBezTo>
                  <a:cubicBezTo>
                    <a:pt x="203449" y="36394"/>
                    <a:pt x="202404" y="36825"/>
                    <a:pt x="201600" y="37570"/>
                  </a:cubicBezTo>
                  <a:lnTo>
                    <a:pt x="162058" y="78328"/>
                  </a:lnTo>
                  <a:lnTo>
                    <a:pt x="162058" y="4051"/>
                  </a:lnTo>
                  <a:cubicBezTo>
                    <a:pt x="162058" y="1814"/>
                    <a:pt x="160244" y="0"/>
                    <a:pt x="158007" y="0"/>
                  </a:cubicBezTo>
                  <a:lnTo>
                    <a:pt x="66174" y="0"/>
                  </a:lnTo>
                  <a:cubicBezTo>
                    <a:pt x="63936" y="0"/>
                    <a:pt x="62122" y="1814"/>
                    <a:pt x="62122" y="4051"/>
                  </a:cubicBezTo>
                  <a:lnTo>
                    <a:pt x="62122" y="59421"/>
                  </a:lnTo>
                  <a:lnTo>
                    <a:pt x="4051" y="59421"/>
                  </a:lnTo>
                  <a:cubicBezTo>
                    <a:pt x="1814" y="59421"/>
                    <a:pt x="0" y="61235"/>
                    <a:pt x="0" y="63473"/>
                  </a:cubicBezTo>
                  <a:lnTo>
                    <a:pt x="0" y="152605"/>
                  </a:lnTo>
                  <a:cubicBezTo>
                    <a:pt x="0" y="154842"/>
                    <a:pt x="1814" y="156656"/>
                    <a:pt x="4051" y="156656"/>
                  </a:cubicBezTo>
                  <a:cubicBezTo>
                    <a:pt x="6289" y="156656"/>
                    <a:pt x="8103" y="154842"/>
                    <a:pt x="8103" y="152605"/>
                  </a:cubicBezTo>
                  <a:lnTo>
                    <a:pt x="8103" y="67524"/>
                  </a:lnTo>
                  <a:lnTo>
                    <a:pt x="62122" y="67524"/>
                  </a:lnTo>
                  <a:lnTo>
                    <a:pt x="62122" y="122894"/>
                  </a:lnTo>
                  <a:cubicBezTo>
                    <a:pt x="62122" y="125132"/>
                    <a:pt x="63936" y="126946"/>
                    <a:pt x="66174" y="126946"/>
                  </a:cubicBezTo>
                  <a:cubicBezTo>
                    <a:pt x="68411" y="126946"/>
                    <a:pt x="70225" y="125132"/>
                    <a:pt x="70225" y="122894"/>
                  </a:cubicBezTo>
                  <a:lnTo>
                    <a:pt x="70225" y="8103"/>
                  </a:lnTo>
                  <a:lnTo>
                    <a:pt x="153955" y="8103"/>
                  </a:lnTo>
                  <a:lnTo>
                    <a:pt x="153955" y="207975"/>
                  </a:lnTo>
                  <a:lnTo>
                    <a:pt x="44566" y="207975"/>
                  </a:lnTo>
                  <a:cubicBezTo>
                    <a:pt x="42329" y="207975"/>
                    <a:pt x="40515" y="209789"/>
                    <a:pt x="40515" y="212026"/>
                  </a:cubicBezTo>
                  <a:cubicBezTo>
                    <a:pt x="40515" y="214264"/>
                    <a:pt x="42329" y="216078"/>
                    <a:pt x="44566" y="216078"/>
                  </a:cubicBezTo>
                  <a:lnTo>
                    <a:pt x="206624" y="216078"/>
                  </a:lnTo>
                  <a:cubicBezTo>
                    <a:pt x="208862" y="216078"/>
                    <a:pt x="210676" y="214264"/>
                    <a:pt x="210676" y="212026"/>
                  </a:cubicBezTo>
                  <a:cubicBezTo>
                    <a:pt x="210676" y="209789"/>
                    <a:pt x="208862" y="207975"/>
                    <a:pt x="206624" y="207975"/>
                  </a:cubicBezTo>
                  <a:lnTo>
                    <a:pt x="162058" y="207975"/>
                  </a:lnTo>
                  <a:lnTo>
                    <a:pt x="162058" y="89807"/>
                  </a:lnTo>
                  <a:lnTo>
                    <a:pt x="204463" y="46268"/>
                  </a:lnTo>
                  <a:lnTo>
                    <a:pt x="245788" y="90212"/>
                  </a:lnTo>
                  <a:lnTo>
                    <a:pt x="245788" y="147203"/>
                  </a:lnTo>
                  <a:cubicBezTo>
                    <a:pt x="245788" y="149440"/>
                    <a:pt x="247602" y="151254"/>
                    <a:pt x="249840" y="151254"/>
                  </a:cubicBezTo>
                  <a:cubicBezTo>
                    <a:pt x="252077" y="151254"/>
                    <a:pt x="253891" y="149440"/>
                    <a:pt x="253891" y="147203"/>
                  </a:cubicBezTo>
                  <a:lnTo>
                    <a:pt x="253891" y="88592"/>
                  </a:lnTo>
                  <a:cubicBezTo>
                    <a:pt x="253884" y="87567"/>
                    <a:pt x="253488" y="86582"/>
                    <a:pt x="252784" y="85837"/>
                  </a:cubicBezTo>
                  <a:close/>
                </a:path>
              </a:pathLst>
            </a:custGeom>
            <a:solidFill>
              <a:schemeClr val="accent1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A8923041-B8F2-4A83-8981-CD869ECD0D3A}"/>
              </a:ext>
            </a:extLst>
          </p:cNvPr>
          <p:cNvGrpSpPr/>
          <p:nvPr/>
        </p:nvGrpSpPr>
        <p:grpSpPr>
          <a:xfrm>
            <a:off x="806476" y="2258435"/>
            <a:ext cx="1875417" cy="835577"/>
            <a:chOff x="402323" y="2759520"/>
            <a:chExt cx="1875417" cy="835577"/>
          </a:xfrm>
        </p:grpSpPr>
        <p:grpSp>
          <p:nvGrpSpPr>
            <p:cNvPr id="43" name="Группа 27">
              <a:extLst>
                <a:ext uri="{FF2B5EF4-FFF2-40B4-BE49-F238E27FC236}">
                  <a16:creationId xmlns="" xmlns:a16="http://schemas.microsoft.com/office/drawing/2014/main" id="{950BFB67-7573-4920-AC30-F480F8762DEA}"/>
                </a:ext>
              </a:extLst>
            </p:cNvPr>
            <p:cNvGrpSpPr/>
            <p:nvPr/>
          </p:nvGrpSpPr>
          <p:grpSpPr>
            <a:xfrm>
              <a:off x="481943" y="2759520"/>
              <a:ext cx="1795797" cy="835577"/>
              <a:chOff x="2845049" y="1270983"/>
              <a:chExt cx="1795797" cy="835577"/>
            </a:xfrm>
          </p:grpSpPr>
          <p:sp>
            <p:nvSpPr>
              <p:cNvPr id="48" name="Заголовок 1">
                <a:extLst>
                  <a:ext uri="{FF2B5EF4-FFF2-40B4-BE49-F238E27FC236}">
                    <a16:creationId xmlns="" xmlns:a16="http://schemas.microsoft.com/office/drawing/2014/main" id="{42B96AB5-A1E1-48FE-B084-225CA2AEB03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103317" y="1270983"/>
                <a:ext cx="1537529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ru-RU" sz="2000" b="0" i="0" u="none" strike="noStrike" kern="1200" cap="none" spc="0" normalizeH="0" baseline="20000" noProof="0" dirty="0">
                    <a:ln>
                      <a:noFill/>
                    </a:ln>
                    <a:solidFill>
                      <a:srgbClr val="001489"/>
                    </a:solidFill>
                    <a:effectLst/>
                    <a:uLnTx/>
                    <a:uFillTx/>
                    <a:ea typeface="+mj-ea"/>
                    <a:cs typeface="+mj-cs"/>
                    <a:sym typeface="Arial"/>
                  </a:rPr>
                  <a:t>&gt;</a:t>
                </a:r>
                <a:r>
                  <a:rPr kumimoji="0" lang="ru-RU" sz="2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9"/>
                    </a:solidFill>
                    <a:effectLst/>
                    <a:uLnTx/>
                    <a:uFillTx/>
                    <a:ea typeface="+mj-ea"/>
                    <a:cs typeface="+mj-cs"/>
                    <a:sym typeface="Arial"/>
                  </a:rPr>
                  <a:t>80</a:t>
                </a: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9"/>
                    </a:solidFill>
                    <a:effectLst/>
                    <a:uLnTx/>
                    <a:uFillTx/>
                    <a:ea typeface="+mj-ea"/>
                    <a:cs typeface="+mj-cs"/>
                    <a:sym typeface="Arial"/>
                  </a:rPr>
                  <a:t>%</a:t>
                </a:r>
                <a:r>
                  <a:rPr kumimoji="0" lang="en-US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9"/>
                    </a:solidFill>
                    <a:effectLst/>
                    <a:uLnTx/>
                    <a:uFillTx/>
                    <a:latin typeface="Roboto Light"/>
                    <a:ea typeface="+mj-ea"/>
                    <a:cs typeface="+mj-cs"/>
                    <a:sym typeface="Arial"/>
                  </a:rPr>
                  <a:t> </a:t>
                </a: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9"/>
                    </a:solidFill>
                    <a:effectLst/>
                    <a:uLnTx/>
                    <a:uFillTx/>
                    <a:ea typeface="+mj-ea"/>
                    <a:cs typeface="+mj-cs"/>
                    <a:sym typeface="Arial"/>
                  </a:rPr>
                  <a:t>присутствия </a:t>
                </a:r>
              </a:p>
            </p:txBody>
          </p:sp>
          <p:sp>
            <p:nvSpPr>
              <p:cNvPr id="49" name="Заголовок 1">
                <a:extLst>
                  <a:ext uri="{FF2B5EF4-FFF2-40B4-BE49-F238E27FC236}">
                    <a16:creationId xmlns="" xmlns:a16="http://schemas.microsoft.com/office/drawing/2014/main" id="{ED0DB82A-36DA-4A2F-91F5-D4B1EF7ED5C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845049" y="1644895"/>
                <a:ext cx="1377702" cy="4616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+mn-lt"/>
                    <a:ea typeface="+mj-ea"/>
                    <a:cs typeface="+mj-cs"/>
                    <a:sym typeface="Arial"/>
                  </a:rPr>
                  <a:t>города до 20 тыс. </a:t>
                </a: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"/>
                    <a:ea typeface="+mj-ea"/>
                    <a:cs typeface="+mj-cs"/>
                    <a:sym typeface="Arial"/>
                  </a:rPr>
                  <a:t/>
                </a:r>
                <a:b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"/>
                    <a:ea typeface="+mj-ea"/>
                    <a:cs typeface="+mj-cs"/>
                    <a:sym typeface="Arial"/>
                  </a:rPr>
                </a:br>
                <a:r>
                  <a:rPr kumimoji="0" lang="ru-RU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+mn-lt"/>
                    <a:ea typeface="+mj-ea"/>
                    <a:cs typeface="+mj-cs"/>
                    <a:sym typeface="Arial"/>
                  </a:rPr>
                  <a:t>человек</a:t>
                </a: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"/>
                    <a:ea typeface="+mj-ea"/>
                    <a:cs typeface="+mj-cs"/>
                    <a:sym typeface="Arial"/>
                  </a:rPr>
                  <a:t> </a:t>
                </a:r>
                <a:r>
                  <a:rPr kumimoji="0" lang="ru-RU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+mn-lt"/>
                    <a:ea typeface="+mj-ea"/>
                    <a:cs typeface="+mj-cs"/>
                    <a:sym typeface="Arial"/>
                  </a:rPr>
                  <a:t>и сельские</a:t>
                </a: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"/>
                    <a:ea typeface="+mj-ea"/>
                    <a:cs typeface="+mj-cs"/>
                    <a:sym typeface="Arial"/>
                  </a:rPr>
                  <a:t> </a:t>
                </a:r>
                <a:r>
                  <a:rPr kumimoji="0" lang="ru-RU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+mn-lt"/>
                    <a:ea typeface="+mj-ea"/>
                    <a:cs typeface="+mj-cs"/>
                    <a:sym typeface="Arial"/>
                  </a:rPr>
                  <a:t>населенные</a:t>
                </a: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"/>
                    <a:ea typeface="+mj-ea"/>
                    <a:cs typeface="+mj-cs"/>
                    <a:sym typeface="Arial"/>
                  </a:rPr>
                  <a:t> </a:t>
                </a:r>
                <a:r>
                  <a:rPr kumimoji="0" lang="ru-RU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+mn-lt"/>
                    <a:ea typeface="+mj-ea"/>
                    <a:cs typeface="+mj-cs"/>
                    <a:sym typeface="Arial"/>
                  </a:rPr>
                  <a:t>пункты</a:t>
                </a:r>
              </a:p>
            </p:txBody>
          </p:sp>
        </p:grpSp>
        <p:grpSp>
          <p:nvGrpSpPr>
            <p:cNvPr id="44" name="Рисунок 18">
              <a:extLst>
                <a:ext uri="{FF2B5EF4-FFF2-40B4-BE49-F238E27FC236}">
                  <a16:creationId xmlns="" xmlns:a16="http://schemas.microsoft.com/office/drawing/2014/main" id="{3AFAC223-0FB8-4582-8F56-47629CA5290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02323" y="2824663"/>
              <a:ext cx="264142" cy="235115"/>
              <a:chOff x="745306" y="3366721"/>
              <a:chExt cx="386031" cy="343610"/>
            </a:xfrm>
            <a:solidFill>
              <a:schemeClr val="accent1">
                <a:lumMod val="40000"/>
                <a:lumOff val="60000"/>
              </a:schemeClr>
            </a:solidFill>
            <a:effectLst/>
          </p:grpSpPr>
          <p:sp>
            <p:nvSpPr>
              <p:cNvPr id="45" name="Полилиния: фигура 53">
                <a:extLst>
                  <a:ext uri="{FF2B5EF4-FFF2-40B4-BE49-F238E27FC236}">
                    <a16:creationId xmlns="" xmlns:a16="http://schemas.microsoft.com/office/drawing/2014/main" id="{08FED72E-67A9-4B0E-AE36-D4F7833C0226}"/>
                  </a:ext>
                </a:extLst>
              </p:cNvPr>
              <p:cNvSpPr/>
              <p:nvPr/>
            </p:nvSpPr>
            <p:spPr>
              <a:xfrm>
                <a:off x="745306" y="3366721"/>
                <a:ext cx="386031" cy="343610"/>
              </a:xfrm>
              <a:custGeom>
                <a:avLst/>
                <a:gdLst>
                  <a:gd name="connsiteX0" fmla="*/ 336597 w 386031"/>
                  <a:gd name="connsiteY0" fmla="*/ 178658 h 343610"/>
                  <a:gd name="connsiteX1" fmla="*/ 334815 w 386031"/>
                  <a:gd name="connsiteY1" fmla="*/ 177767 h 343610"/>
                  <a:gd name="connsiteX2" fmla="*/ 291461 w 386031"/>
                  <a:gd name="connsiteY2" fmla="*/ 82320 h 343610"/>
                  <a:gd name="connsiteX3" fmla="*/ 292776 w 386031"/>
                  <a:gd name="connsiteY3" fmla="*/ 20852 h 343610"/>
                  <a:gd name="connsiteX4" fmla="*/ 275468 w 386031"/>
                  <a:gd name="connsiteY4" fmla="*/ 2653 h 343610"/>
                  <a:gd name="connsiteX5" fmla="*/ 219345 w 386031"/>
                  <a:gd name="connsiteY5" fmla="*/ 14361 h 343610"/>
                  <a:gd name="connsiteX6" fmla="*/ 217269 w 386031"/>
                  <a:gd name="connsiteY6" fmla="*/ 23117 h 343610"/>
                  <a:gd name="connsiteX7" fmla="*/ 225836 w 386031"/>
                  <a:gd name="connsiteY7" fmla="*/ 25306 h 343610"/>
                  <a:gd name="connsiteX8" fmla="*/ 270590 w 386031"/>
                  <a:gd name="connsiteY8" fmla="*/ 14404 h 343610"/>
                  <a:gd name="connsiteX9" fmla="*/ 280983 w 386031"/>
                  <a:gd name="connsiteY9" fmla="*/ 25645 h 343610"/>
                  <a:gd name="connsiteX10" fmla="*/ 280559 w 386031"/>
                  <a:gd name="connsiteY10" fmla="*/ 72817 h 343610"/>
                  <a:gd name="connsiteX11" fmla="*/ 94119 w 386031"/>
                  <a:gd name="connsiteY11" fmla="*/ 82489 h 343610"/>
                  <a:gd name="connsiteX12" fmla="*/ 93100 w 386031"/>
                  <a:gd name="connsiteY12" fmla="*/ 82277 h 343610"/>
                  <a:gd name="connsiteX13" fmla="*/ 1980 w 386031"/>
                  <a:gd name="connsiteY13" fmla="*/ 103700 h 343610"/>
                  <a:gd name="connsiteX14" fmla="*/ 3168 w 386031"/>
                  <a:gd name="connsiteY14" fmla="*/ 128134 h 343610"/>
                  <a:gd name="connsiteX15" fmla="*/ 51019 w 386031"/>
                  <a:gd name="connsiteY15" fmla="*/ 179040 h 343610"/>
                  <a:gd name="connsiteX16" fmla="*/ 51019 w 386031"/>
                  <a:gd name="connsiteY16" fmla="*/ 184639 h 343610"/>
                  <a:gd name="connsiteX17" fmla="*/ 69811 w 386031"/>
                  <a:gd name="connsiteY17" fmla="*/ 255100 h 343610"/>
                  <a:gd name="connsiteX18" fmla="*/ 68963 w 386031"/>
                  <a:gd name="connsiteY18" fmla="*/ 257009 h 343610"/>
                  <a:gd name="connsiteX19" fmla="*/ 83598 w 386031"/>
                  <a:gd name="connsiteY19" fmla="*/ 340791 h 343610"/>
                  <a:gd name="connsiteX20" fmla="*/ 96961 w 386031"/>
                  <a:gd name="connsiteY20" fmla="*/ 343633 h 343610"/>
                  <a:gd name="connsiteX21" fmla="*/ 148545 w 386031"/>
                  <a:gd name="connsiteY21" fmla="*/ 319496 h 343610"/>
                  <a:gd name="connsiteX22" fmla="*/ 302957 w 386031"/>
                  <a:gd name="connsiteY22" fmla="*/ 274657 h 343610"/>
                  <a:gd name="connsiteX23" fmla="*/ 306945 w 386031"/>
                  <a:gd name="connsiteY23" fmla="*/ 275081 h 343610"/>
                  <a:gd name="connsiteX24" fmla="*/ 325271 w 386031"/>
                  <a:gd name="connsiteY24" fmla="*/ 275844 h 343610"/>
                  <a:gd name="connsiteX25" fmla="*/ 384151 w 386031"/>
                  <a:gd name="connsiteY25" fmla="*/ 252725 h 343610"/>
                  <a:gd name="connsiteX26" fmla="*/ 336597 w 386031"/>
                  <a:gd name="connsiteY26" fmla="*/ 178658 h 343610"/>
                  <a:gd name="connsiteX27" fmla="*/ 192875 w 386031"/>
                  <a:gd name="connsiteY27" fmla="*/ 55170 h 343610"/>
                  <a:gd name="connsiteX28" fmla="*/ 277080 w 386031"/>
                  <a:gd name="connsiteY28" fmla="*/ 86435 h 343610"/>
                  <a:gd name="connsiteX29" fmla="*/ 263972 w 386031"/>
                  <a:gd name="connsiteY29" fmla="*/ 122662 h 343610"/>
                  <a:gd name="connsiteX30" fmla="*/ 267324 w 386031"/>
                  <a:gd name="connsiteY30" fmla="*/ 131019 h 343610"/>
                  <a:gd name="connsiteX31" fmla="*/ 275680 w 386031"/>
                  <a:gd name="connsiteY31" fmla="*/ 127668 h 343610"/>
                  <a:gd name="connsiteX32" fmla="*/ 287431 w 386031"/>
                  <a:gd name="connsiteY32" fmla="*/ 96361 h 343610"/>
                  <a:gd name="connsiteX33" fmla="*/ 297018 w 386031"/>
                  <a:gd name="connsiteY33" fmla="*/ 261251 h 343610"/>
                  <a:gd name="connsiteX34" fmla="*/ 216418 w 386031"/>
                  <a:gd name="connsiteY34" fmla="*/ 243732 h 343610"/>
                  <a:gd name="connsiteX35" fmla="*/ 244331 w 386031"/>
                  <a:gd name="connsiteY35" fmla="*/ 200080 h 343610"/>
                  <a:gd name="connsiteX36" fmla="*/ 253622 w 386031"/>
                  <a:gd name="connsiteY36" fmla="*/ 183112 h 343610"/>
                  <a:gd name="connsiteX37" fmla="*/ 250991 w 386031"/>
                  <a:gd name="connsiteY37" fmla="*/ 174501 h 343610"/>
                  <a:gd name="connsiteX38" fmla="*/ 242380 w 386031"/>
                  <a:gd name="connsiteY38" fmla="*/ 177131 h 343610"/>
                  <a:gd name="connsiteX39" fmla="*/ 233302 w 386031"/>
                  <a:gd name="connsiteY39" fmla="*/ 193548 h 343610"/>
                  <a:gd name="connsiteX40" fmla="*/ 203607 w 386031"/>
                  <a:gd name="connsiteY40" fmla="*/ 239490 h 343610"/>
                  <a:gd name="connsiteX41" fmla="*/ 171749 w 386031"/>
                  <a:gd name="connsiteY41" fmla="*/ 228036 h 343610"/>
                  <a:gd name="connsiteX42" fmla="*/ 64042 w 386031"/>
                  <a:gd name="connsiteY42" fmla="*/ 172761 h 343610"/>
                  <a:gd name="connsiteX43" fmla="*/ 192875 w 386031"/>
                  <a:gd name="connsiteY43" fmla="*/ 55170 h 343610"/>
                  <a:gd name="connsiteX44" fmla="*/ 14706 w 386031"/>
                  <a:gd name="connsiteY44" fmla="*/ 123044 h 343610"/>
                  <a:gd name="connsiteX45" fmla="*/ 13519 w 386031"/>
                  <a:gd name="connsiteY45" fmla="*/ 108493 h 343610"/>
                  <a:gd name="connsiteX46" fmla="*/ 83259 w 386031"/>
                  <a:gd name="connsiteY46" fmla="*/ 93985 h 343610"/>
                  <a:gd name="connsiteX47" fmla="*/ 52249 w 386031"/>
                  <a:gd name="connsiteY47" fmla="*/ 164192 h 343610"/>
                  <a:gd name="connsiteX48" fmla="*/ 14706 w 386031"/>
                  <a:gd name="connsiteY48" fmla="*/ 123171 h 343610"/>
                  <a:gd name="connsiteX49" fmla="*/ 167083 w 386031"/>
                  <a:gd name="connsiteY49" fmla="*/ 240083 h 343610"/>
                  <a:gd name="connsiteX50" fmla="*/ 195632 w 386031"/>
                  <a:gd name="connsiteY50" fmla="*/ 250349 h 343610"/>
                  <a:gd name="connsiteX51" fmla="*/ 145872 w 386031"/>
                  <a:gd name="connsiteY51" fmla="*/ 305072 h 343610"/>
                  <a:gd name="connsiteX52" fmla="*/ 63575 w 386031"/>
                  <a:gd name="connsiteY52" fmla="*/ 187778 h 343610"/>
                  <a:gd name="connsiteX53" fmla="*/ 167083 w 386031"/>
                  <a:gd name="connsiteY53" fmla="*/ 240083 h 343610"/>
                  <a:gd name="connsiteX54" fmla="*/ 88774 w 386031"/>
                  <a:gd name="connsiteY54" fmla="*/ 329167 h 343610"/>
                  <a:gd name="connsiteX55" fmla="*/ 79059 w 386031"/>
                  <a:gd name="connsiteY55" fmla="*/ 269524 h 343610"/>
                  <a:gd name="connsiteX56" fmla="*/ 134758 w 386031"/>
                  <a:gd name="connsiteY56" fmla="*/ 314193 h 343610"/>
                  <a:gd name="connsiteX57" fmla="*/ 88774 w 386031"/>
                  <a:gd name="connsiteY57" fmla="*/ 329252 h 343610"/>
                  <a:gd name="connsiteX58" fmla="*/ 192875 w 386031"/>
                  <a:gd name="connsiteY58" fmla="*/ 313938 h 343610"/>
                  <a:gd name="connsiteX59" fmla="*/ 159744 w 386031"/>
                  <a:gd name="connsiteY59" fmla="*/ 309696 h 343610"/>
                  <a:gd name="connsiteX60" fmla="*/ 208570 w 386031"/>
                  <a:gd name="connsiteY60" fmla="*/ 254549 h 343610"/>
                  <a:gd name="connsiteX61" fmla="*/ 287304 w 386031"/>
                  <a:gd name="connsiteY61" fmla="*/ 272790 h 343610"/>
                  <a:gd name="connsiteX62" fmla="*/ 192875 w 386031"/>
                  <a:gd name="connsiteY62" fmla="*/ 313938 h 343610"/>
                  <a:gd name="connsiteX63" fmla="*/ 372146 w 386031"/>
                  <a:gd name="connsiteY63" fmla="*/ 247762 h 343610"/>
                  <a:gd name="connsiteX64" fmla="*/ 311569 w 386031"/>
                  <a:gd name="connsiteY64" fmla="*/ 262567 h 343610"/>
                  <a:gd name="connsiteX65" fmla="*/ 334688 w 386031"/>
                  <a:gd name="connsiteY65" fmla="*/ 193039 h 343610"/>
                  <a:gd name="connsiteX66" fmla="*/ 372146 w 386031"/>
                  <a:gd name="connsiteY66" fmla="*/ 247762 h 343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386031" h="343610">
                    <a:moveTo>
                      <a:pt x="336597" y="178658"/>
                    </a:moveTo>
                    <a:cubicBezTo>
                      <a:pt x="336054" y="178268"/>
                      <a:pt x="335453" y="177967"/>
                      <a:pt x="334815" y="177767"/>
                    </a:cubicBezTo>
                    <a:cubicBezTo>
                      <a:pt x="333099" y="141578"/>
                      <a:pt x="317584" y="107422"/>
                      <a:pt x="291461" y="82320"/>
                    </a:cubicBezTo>
                    <a:cubicBezTo>
                      <a:pt x="298079" y="56443"/>
                      <a:pt x="298630" y="35275"/>
                      <a:pt x="292776" y="20852"/>
                    </a:cubicBezTo>
                    <a:cubicBezTo>
                      <a:pt x="289768" y="12655"/>
                      <a:pt x="283504" y="6068"/>
                      <a:pt x="275468" y="2653"/>
                    </a:cubicBezTo>
                    <a:cubicBezTo>
                      <a:pt x="261300" y="-3243"/>
                      <a:pt x="242422" y="702"/>
                      <a:pt x="219345" y="14361"/>
                    </a:cubicBezTo>
                    <a:cubicBezTo>
                      <a:pt x="216354" y="16206"/>
                      <a:pt x="215425" y="20126"/>
                      <a:pt x="217269" y="23117"/>
                    </a:cubicBezTo>
                    <a:cubicBezTo>
                      <a:pt x="219069" y="26036"/>
                      <a:pt x="222857" y="27003"/>
                      <a:pt x="225836" y="25306"/>
                    </a:cubicBezTo>
                    <a:cubicBezTo>
                      <a:pt x="244713" y="14107"/>
                      <a:pt x="260748" y="10246"/>
                      <a:pt x="270590" y="14404"/>
                    </a:cubicBezTo>
                    <a:cubicBezTo>
                      <a:pt x="275468" y="16541"/>
                      <a:pt x="279234" y="20615"/>
                      <a:pt x="280983" y="25645"/>
                    </a:cubicBezTo>
                    <a:cubicBezTo>
                      <a:pt x="285225" y="36250"/>
                      <a:pt x="285013" y="52710"/>
                      <a:pt x="280559" y="72817"/>
                    </a:cubicBezTo>
                    <a:cubicBezTo>
                      <a:pt x="224773" y="28854"/>
                      <a:pt x="145056" y="32990"/>
                      <a:pt x="94119" y="82489"/>
                    </a:cubicBezTo>
                    <a:lnTo>
                      <a:pt x="93100" y="82277"/>
                    </a:lnTo>
                    <a:cubicBezTo>
                      <a:pt x="43892" y="76847"/>
                      <a:pt x="9786" y="84865"/>
                      <a:pt x="1980" y="103700"/>
                    </a:cubicBezTo>
                    <a:cubicBezTo>
                      <a:pt x="-1025" y="111658"/>
                      <a:pt x="-595" y="120505"/>
                      <a:pt x="3168" y="128134"/>
                    </a:cubicBezTo>
                    <a:cubicBezTo>
                      <a:pt x="9743" y="143660"/>
                      <a:pt x="26754" y="161265"/>
                      <a:pt x="51019" y="179040"/>
                    </a:cubicBezTo>
                    <a:cubicBezTo>
                      <a:pt x="51019" y="180906"/>
                      <a:pt x="51019" y="182730"/>
                      <a:pt x="51019" y="184639"/>
                    </a:cubicBezTo>
                    <a:cubicBezTo>
                      <a:pt x="51004" y="209367"/>
                      <a:pt x="57485" y="233664"/>
                      <a:pt x="69811" y="255100"/>
                    </a:cubicBezTo>
                    <a:cubicBezTo>
                      <a:pt x="69424" y="255685"/>
                      <a:pt x="69137" y="256330"/>
                      <a:pt x="68963" y="257009"/>
                    </a:cubicBezTo>
                    <a:cubicBezTo>
                      <a:pt x="58570" y="301679"/>
                      <a:pt x="63745" y="331458"/>
                      <a:pt x="83598" y="340791"/>
                    </a:cubicBezTo>
                    <a:cubicBezTo>
                      <a:pt x="87784" y="342724"/>
                      <a:pt x="92350" y="343695"/>
                      <a:pt x="96961" y="343633"/>
                    </a:cubicBezTo>
                    <a:cubicBezTo>
                      <a:pt x="111893" y="343633"/>
                      <a:pt x="129795" y="334555"/>
                      <a:pt x="148545" y="319496"/>
                    </a:cubicBezTo>
                    <a:cubicBezTo>
                      <a:pt x="204334" y="337992"/>
                      <a:pt x="265751" y="320157"/>
                      <a:pt x="302957" y="274657"/>
                    </a:cubicBezTo>
                    <a:lnTo>
                      <a:pt x="306945" y="275081"/>
                    </a:lnTo>
                    <a:cubicBezTo>
                      <a:pt x="313421" y="275590"/>
                      <a:pt x="319530" y="275844"/>
                      <a:pt x="325271" y="275844"/>
                    </a:cubicBezTo>
                    <a:cubicBezTo>
                      <a:pt x="357553" y="275844"/>
                      <a:pt x="377745" y="267954"/>
                      <a:pt x="384151" y="252725"/>
                    </a:cubicBezTo>
                    <a:cubicBezTo>
                      <a:pt x="391999" y="233381"/>
                      <a:pt x="375285" y="207122"/>
                      <a:pt x="336597" y="178658"/>
                    </a:cubicBezTo>
                    <a:close/>
                    <a:moveTo>
                      <a:pt x="192875" y="55170"/>
                    </a:moveTo>
                    <a:cubicBezTo>
                      <a:pt x="223786" y="55149"/>
                      <a:pt x="253673" y="66246"/>
                      <a:pt x="277080" y="86435"/>
                    </a:cubicBezTo>
                    <a:cubicBezTo>
                      <a:pt x="273458" y="98768"/>
                      <a:pt x="269081" y="110866"/>
                      <a:pt x="263972" y="122662"/>
                    </a:cubicBezTo>
                    <a:cubicBezTo>
                      <a:pt x="262590" y="125895"/>
                      <a:pt x="264090" y="129637"/>
                      <a:pt x="267324" y="131019"/>
                    </a:cubicBezTo>
                    <a:cubicBezTo>
                      <a:pt x="270557" y="132401"/>
                      <a:pt x="274298" y="130901"/>
                      <a:pt x="275680" y="127668"/>
                    </a:cubicBezTo>
                    <a:cubicBezTo>
                      <a:pt x="280375" y="116695"/>
                      <a:pt x="284292" y="106259"/>
                      <a:pt x="287431" y="96361"/>
                    </a:cubicBezTo>
                    <a:cubicBezTo>
                      <a:pt x="329990" y="141813"/>
                      <a:pt x="334022" y="211173"/>
                      <a:pt x="297018" y="261251"/>
                    </a:cubicBezTo>
                    <a:cubicBezTo>
                      <a:pt x="269680" y="257842"/>
                      <a:pt x="242705" y="251978"/>
                      <a:pt x="216418" y="243732"/>
                    </a:cubicBezTo>
                    <a:cubicBezTo>
                      <a:pt x="226302" y="229775"/>
                      <a:pt x="235720" y="215055"/>
                      <a:pt x="244331" y="200080"/>
                    </a:cubicBezTo>
                    <a:cubicBezTo>
                      <a:pt x="247513" y="194566"/>
                      <a:pt x="250610" y="188924"/>
                      <a:pt x="253622" y="183112"/>
                    </a:cubicBezTo>
                    <a:cubicBezTo>
                      <a:pt x="255273" y="180008"/>
                      <a:pt x="254096" y="176152"/>
                      <a:pt x="250991" y="174501"/>
                    </a:cubicBezTo>
                    <a:cubicBezTo>
                      <a:pt x="247887" y="172849"/>
                      <a:pt x="244032" y="174026"/>
                      <a:pt x="242380" y="177131"/>
                    </a:cubicBezTo>
                    <a:cubicBezTo>
                      <a:pt x="239453" y="182645"/>
                      <a:pt x="236399" y="188160"/>
                      <a:pt x="233302" y="193548"/>
                    </a:cubicBezTo>
                    <a:cubicBezTo>
                      <a:pt x="224206" y="209366"/>
                      <a:pt x="214295" y="224701"/>
                      <a:pt x="203607" y="239490"/>
                    </a:cubicBezTo>
                    <a:cubicBezTo>
                      <a:pt x="193228" y="236067"/>
                      <a:pt x="182609" y="232250"/>
                      <a:pt x="171749" y="228036"/>
                    </a:cubicBezTo>
                    <a:cubicBezTo>
                      <a:pt x="133874" y="213739"/>
                      <a:pt x="97741" y="195196"/>
                      <a:pt x="64042" y="172761"/>
                    </a:cubicBezTo>
                    <a:cubicBezTo>
                      <a:pt x="70215" y="106196"/>
                      <a:pt x="126023" y="55257"/>
                      <a:pt x="192875" y="55170"/>
                    </a:cubicBezTo>
                    <a:close/>
                    <a:moveTo>
                      <a:pt x="14706" y="123044"/>
                    </a:moveTo>
                    <a:cubicBezTo>
                      <a:pt x="12352" y="118556"/>
                      <a:pt x="11923" y="113304"/>
                      <a:pt x="13519" y="108493"/>
                    </a:cubicBezTo>
                    <a:cubicBezTo>
                      <a:pt x="17761" y="98525"/>
                      <a:pt x="40838" y="90507"/>
                      <a:pt x="83259" y="93985"/>
                    </a:cubicBezTo>
                    <a:cubicBezTo>
                      <a:pt x="66654" y="114085"/>
                      <a:pt x="55923" y="138381"/>
                      <a:pt x="52249" y="164192"/>
                    </a:cubicBezTo>
                    <a:cubicBezTo>
                      <a:pt x="33244" y="149642"/>
                      <a:pt x="19967" y="135431"/>
                      <a:pt x="14706" y="123171"/>
                    </a:cubicBezTo>
                    <a:close/>
                    <a:moveTo>
                      <a:pt x="167083" y="240083"/>
                    </a:moveTo>
                    <a:cubicBezTo>
                      <a:pt x="176627" y="243816"/>
                      <a:pt x="186172" y="247168"/>
                      <a:pt x="195632" y="250349"/>
                    </a:cubicBezTo>
                    <a:cubicBezTo>
                      <a:pt x="180839" y="270144"/>
                      <a:pt x="164176" y="288469"/>
                      <a:pt x="145872" y="305072"/>
                    </a:cubicBezTo>
                    <a:cubicBezTo>
                      <a:pt x="97348" y="286083"/>
                      <a:pt x="64923" y="239869"/>
                      <a:pt x="63575" y="187778"/>
                    </a:cubicBezTo>
                    <a:cubicBezTo>
                      <a:pt x="96163" y="208769"/>
                      <a:pt x="130853" y="226300"/>
                      <a:pt x="167083" y="240083"/>
                    </a:cubicBezTo>
                    <a:close/>
                    <a:moveTo>
                      <a:pt x="88774" y="329167"/>
                    </a:moveTo>
                    <a:cubicBezTo>
                      <a:pt x="76556" y="323398"/>
                      <a:pt x="73120" y="301382"/>
                      <a:pt x="79059" y="269524"/>
                    </a:cubicBezTo>
                    <a:cubicBezTo>
                      <a:pt x="93548" y="288885"/>
                      <a:pt x="112713" y="304254"/>
                      <a:pt x="134758" y="314193"/>
                    </a:cubicBezTo>
                    <a:cubicBezTo>
                      <a:pt x="116517" y="328107"/>
                      <a:pt x="99973" y="334555"/>
                      <a:pt x="88774" y="329252"/>
                    </a:cubicBezTo>
                    <a:close/>
                    <a:moveTo>
                      <a:pt x="192875" y="313938"/>
                    </a:moveTo>
                    <a:cubicBezTo>
                      <a:pt x="181694" y="313965"/>
                      <a:pt x="170557" y="312539"/>
                      <a:pt x="159744" y="309696"/>
                    </a:cubicBezTo>
                    <a:cubicBezTo>
                      <a:pt x="177686" y="292860"/>
                      <a:pt x="194031" y="274399"/>
                      <a:pt x="208570" y="254549"/>
                    </a:cubicBezTo>
                    <a:cubicBezTo>
                      <a:pt x="234275" y="262761"/>
                      <a:pt x="260607" y="268861"/>
                      <a:pt x="287304" y="272790"/>
                    </a:cubicBezTo>
                    <a:cubicBezTo>
                      <a:pt x="262906" y="299023"/>
                      <a:pt x="228699" y="313929"/>
                      <a:pt x="192875" y="313938"/>
                    </a:cubicBezTo>
                    <a:close/>
                    <a:moveTo>
                      <a:pt x="372146" y="247762"/>
                    </a:moveTo>
                    <a:cubicBezTo>
                      <a:pt x="367352" y="259215"/>
                      <a:pt x="345124" y="264730"/>
                      <a:pt x="311569" y="262567"/>
                    </a:cubicBezTo>
                    <a:cubicBezTo>
                      <a:pt x="325260" y="241829"/>
                      <a:pt x="333235" y="217845"/>
                      <a:pt x="334688" y="193039"/>
                    </a:cubicBezTo>
                    <a:cubicBezTo>
                      <a:pt x="362898" y="215140"/>
                      <a:pt x="377194" y="235756"/>
                      <a:pt x="372146" y="24776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419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6" name="Полилиния: фигура 54">
                <a:extLst>
                  <a:ext uri="{FF2B5EF4-FFF2-40B4-BE49-F238E27FC236}">
                    <a16:creationId xmlns="" xmlns:a16="http://schemas.microsoft.com/office/drawing/2014/main" id="{F952E4B8-3135-47C8-B671-DEFBA5D70D90}"/>
                  </a:ext>
                </a:extLst>
              </p:cNvPr>
              <p:cNvSpPr/>
              <p:nvPr/>
            </p:nvSpPr>
            <p:spPr>
              <a:xfrm>
                <a:off x="825893" y="3515375"/>
                <a:ext cx="63632" cy="38179"/>
              </a:xfrm>
              <a:custGeom>
                <a:avLst/>
                <a:gdLst>
                  <a:gd name="connsiteX0" fmla="*/ 2799 w 63631"/>
                  <a:gd name="connsiteY0" fmla="*/ 11593 h 38178"/>
                  <a:gd name="connsiteX1" fmla="*/ 58710 w 63631"/>
                  <a:gd name="connsiteY1" fmla="*/ 41712 h 38178"/>
                  <a:gd name="connsiteX2" fmla="*/ 66925 w 63631"/>
                  <a:gd name="connsiteY2" fmla="*/ 38038 h 38178"/>
                  <a:gd name="connsiteX3" fmla="*/ 64013 w 63631"/>
                  <a:gd name="connsiteY3" fmla="*/ 30173 h 38178"/>
                  <a:gd name="connsiteX4" fmla="*/ 9629 w 63631"/>
                  <a:gd name="connsiteY4" fmla="*/ 903 h 38178"/>
                  <a:gd name="connsiteX5" fmla="*/ 902 w 63631"/>
                  <a:gd name="connsiteY5" fmla="*/ 3099 h 38178"/>
                  <a:gd name="connsiteX6" fmla="*/ 2799 w 63631"/>
                  <a:gd name="connsiteY6" fmla="*/ 11635 h 38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631" h="38178">
                    <a:moveTo>
                      <a:pt x="2799" y="11593"/>
                    </a:moveTo>
                    <a:cubicBezTo>
                      <a:pt x="20740" y="22873"/>
                      <a:pt x="39420" y="32936"/>
                      <a:pt x="58710" y="41712"/>
                    </a:cubicBezTo>
                    <a:cubicBezTo>
                      <a:pt x="61993" y="42966"/>
                      <a:pt x="65671" y="41320"/>
                      <a:pt x="66925" y="38038"/>
                    </a:cubicBezTo>
                    <a:cubicBezTo>
                      <a:pt x="68063" y="35057"/>
                      <a:pt x="66818" y="31693"/>
                      <a:pt x="64013" y="30173"/>
                    </a:cubicBezTo>
                    <a:cubicBezTo>
                      <a:pt x="45250" y="21644"/>
                      <a:pt x="27081" y="11865"/>
                      <a:pt x="9629" y="903"/>
                    </a:cubicBezTo>
                    <a:cubicBezTo>
                      <a:pt x="6613" y="-901"/>
                      <a:pt x="2706" y="83"/>
                      <a:pt x="902" y="3099"/>
                    </a:cubicBezTo>
                    <a:cubicBezTo>
                      <a:pt x="-830" y="5997"/>
                      <a:pt x="2" y="9744"/>
                      <a:pt x="2799" y="11635"/>
                    </a:cubicBezTo>
                    <a:close/>
                  </a:path>
                </a:pathLst>
              </a:custGeom>
              <a:grpFill/>
              <a:ln w="419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" name="Полилиния: фигура 55">
                <a:extLst>
                  <a:ext uri="{FF2B5EF4-FFF2-40B4-BE49-F238E27FC236}">
                    <a16:creationId xmlns="" xmlns:a16="http://schemas.microsoft.com/office/drawing/2014/main" id="{58EC6D40-2EF1-4400-AB26-E7E477C5CA5C}"/>
                  </a:ext>
                </a:extLst>
              </p:cNvPr>
              <p:cNvSpPr/>
              <p:nvPr/>
            </p:nvSpPr>
            <p:spPr>
              <a:xfrm>
                <a:off x="936143" y="3460548"/>
                <a:ext cx="50905" cy="97568"/>
              </a:xfrm>
              <a:custGeom>
                <a:avLst/>
                <a:gdLst>
                  <a:gd name="connsiteX0" fmla="*/ 3056 w 50905"/>
                  <a:gd name="connsiteY0" fmla="*/ 100442 h 97568"/>
                  <a:gd name="connsiteX1" fmla="*/ 11752 w 50905"/>
                  <a:gd name="connsiteY1" fmla="*/ 98194 h 97568"/>
                  <a:gd name="connsiteX2" fmla="*/ 21042 w 50905"/>
                  <a:gd name="connsiteY2" fmla="*/ 81946 h 97568"/>
                  <a:gd name="connsiteX3" fmla="*/ 54725 w 50905"/>
                  <a:gd name="connsiteY3" fmla="*/ 8049 h 97568"/>
                  <a:gd name="connsiteX4" fmla="*/ 50273 w 50905"/>
                  <a:gd name="connsiteY4" fmla="*/ 228 h 97568"/>
                  <a:gd name="connsiteX5" fmla="*/ 42762 w 50905"/>
                  <a:gd name="connsiteY5" fmla="*/ 3807 h 97568"/>
                  <a:gd name="connsiteX6" fmla="*/ 9928 w 50905"/>
                  <a:gd name="connsiteY6" fmla="*/ 75923 h 97568"/>
                  <a:gd name="connsiteX7" fmla="*/ 850 w 50905"/>
                  <a:gd name="connsiteY7" fmla="*/ 91830 h 97568"/>
                  <a:gd name="connsiteX8" fmla="*/ 3056 w 50905"/>
                  <a:gd name="connsiteY8" fmla="*/ 100442 h 9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905" h="97568">
                    <a:moveTo>
                      <a:pt x="3056" y="100442"/>
                    </a:moveTo>
                    <a:cubicBezTo>
                      <a:pt x="6079" y="102216"/>
                      <a:pt x="9968" y="101210"/>
                      <a:pt x="11752" y="98194"/>
                    </a:cubicBezTo>
                    <a:cubicBezTo>
                      <a:pt x="14934" y="92849"/>
                      <a:pt x="18031" y="87376"/>
                      <a:pt x="21042" y="81946"/>
                    </a:cubicBezTo>
                    <a:cubicBezTo>
                      <a:pt x="34154" y="58217"/>
                      <a:pt x="45415" y="33511"/>
                      <a:pt x="54725" y="8049"/>
                    </a:cubicBezTo>
                    <a:cubicBezTo>
                      <a:pt x="55655" y="4660"/>
                      <a:pt x="53663" y="1159"/>
                      <a:pt x="50273" y="228"/>
                    </a:cubicBezTo>
                    <a:cubicBezTo>
                      <a:pt x="47229" y="-608"/>
                      <a:pt x="44031" y="915"/>
                      <a:pt x="42762" y="3807"/>
                    </a:cubicBezTo>
                    <a:cubicBezTo>
                      <a:pt x="33691" y="28655"/>
                      <a:pt x="22713" y="52765"/>
                      <a:pt x="9928" y="75923"/>
                    </a:cubicBezTo>
                    <a:cubicBezTo>
                      <a:pt x="7001" y="81268"/>
                      <a:pt x="3947" y="86613"/>
                      <a:pt x="850" y="91830"/>
                    </a:cubicBezTo>
                    <a:cubicBezTo>
                      <a:pt x="-874" y="94824"/>
                      <a:pt x="105" y="98646"/>
                      <a:pt x="3056" y="100442"/>
                    </a:cubicBezTo>
                    <a:close/>
                  </a:path>
                </a:pathLst>
              </a:custGeom>
              <a:grpFill/>
              <a:ln w="419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29" name="Группа 12">
            <a:extLst>
              <a:ext uri="{FF2B5EF4-FFF2-40B4-BE49-F238E27FC236}">
                <a16:creationId xmlns="" xmlns:a16="http://schemas.microsoft.com/office/drawing/2014/main" id="{6ECB130D-4A47-4E4D-8C8D-B22833868C8C}"/>
              </a:ext>
            </a:extLst>
          </p:cNvPr>
          <p:cNvGrpSpPr/>
          <p:nvPr/>
        </p:nvGrpSpPr>
        <p:grpSpPr>
          <a:xfrm>
            <a:off x="9054081" y="1250627"/>
            <a:ext cx="1559644" cy="681689"/>
            <a:chOff x="622549" y="1270983"/>
            <a:chExt cx="1559644" cy="681689"/>
          </a:xfrm>
        </p:grpSpPr>
        <p:sp>
          <p:nvSpPr>
            <p:cNvPr id="41" name="Заголовок 1">
              <a:extLst>
                <a:ext uri="{FF2B5EF4-FFF2-40B4-BE49-F238E27FC236}">
                  <a16:creationId xmlns="" xmlns:a16="http://schemas.microsoft.com/office/drawing/2014/main" id="{8ADD8816-9E3E-4656-909D-F4BA7F8FF527}"/>
                </a:ext>
              </a:extLst>
            </p:cNvPr>
            <p:cNvSpPr txBox="1">
              <a:spLocks/>
            </p:cNvSpPr>
            <p:nvPr/>
          </p:nvSpPr>
          <p:spPr>
            <a:xfrm>
              <a:off x="942802" y="1270983"/>
              <a:ext cx="1239391" cy="3693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2400" i="0" u="none" strike="noStrike" kern="1200" cap="none" spc="0" normalizeH="0" baseline="0" noProof="0" dirty="0">
                  <a:ln>
                    <a:noFill/>
                  </a:ln>
                  <a:solidFill>
                    <a:srgbClr val="001489"/>
                  </a:solidFill>
                  <a:effectLst/>
                  <a:uLnTx/>
                  <a:uFillTx/>
                  <a:ea typeface="+mj-ea"/>
                  <a:cs typeface="+mj-cs"/>
                  <a:sym typeface="Arial"/>
                </a:rPr>
                <a:t>17 тыс.</a:t>
              </a:r>
            </a:p>
          </p:txBody>
        </p:sp>
        <p:sp>
          <p:nvSpPr>
            <p:cNvPr id="42" name="Заголовок 1">
              <a:extLst>
                <a:ext uri="{FF2B5EF4-FFF2-40B4-BE49-F238E27FC236}">
                  <a16:creationId xmlns="" xmlns:a16="http://schemas.microsoft.com/office/drawing/2014/main" id="{565F1D29-40B4-4C5B-898C-17DBB0CAF9CC}"/>
                </a:ext>
              </a:extLst>
            </p:cNvPr>
            <p:cNvSpPr txBox="1">
              <a:spLocks/>
            </p:cNvSpPr>
            <p:nvPr/>
          </p:nvSpPr>
          <p:spPr>
            <a:xfrm>
              <a:off x="622549" y="1644895"/>
              <a:ext cx="1373444" cy="3077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F1F1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rPr>
                <a:t>единиц транспортной техники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7DE19B30-4CD8-4BFC-AC48-6E506210ED05}"/>
              </a:ext>
            </a:extLst>
          </p:cNvPr>
          <p:cNvGrpSpPr/>
          <p:nvPr/>
        </p:nvGrpSpPr>
        <p:grpSpPr>
          <a:xfrm>
            <a:off x="4937700" y="2473097"/>
            <a:ext cx="1559644" cy="527800"/>
            <a:chOff x="4902105" y="1387733"/>
            <a:chExt cx="1559644" cy="527800"/>
          </a:xfrm>
        </p:grpSpPr>
        <p:grpSp>
          <p:nvGrpSpPr>
            <p:cNvPr id="15" name="Группа 12">
              <a:extLst>
                <a:ext uri="{FF2B5EF4-FFF2-40B4-BE49-F238E27FC236}">
                  <a16:creationId xmlns="" xmlns:a16="http://schemas.microsoft.com/office/drawing/2014/main" id="{6ECB130D-4A47-4E4D-8C8D-B22833868C8C}"/>
                </a:ext>
              </a:extLst>
            </p:cNvPr>
            <p:cNvGrpSpPr/>
            <p:nvPr/>
          </p:nvGrpSpPr>
          <p:grpSpPr>
            <a:xfrm>
              <a:off x="4902105" y="1387733"/>
              <a:ext cx="1559644" cy="527800"/>
              <a:chOff x="622549" y="1270983"/>
              <a:chExt cx="1559644" cy="527800"/>
            </a:xfrm>
          </p:grpSpPr>
          <p:sp>
            <p:nvSpPr>
              <p:cNvPr id="27" name="Заголовок 1">
                <a:extLst>
                  <a:ext uri="{FF2B5EF4-FFF2-40B4-BE49-F238E27FC236}">
                    <a16:creationId xmlns="" xmlns:a16="http://schemas.microsoft.com/office/drawing/2014/main" id="{8ADD8816-9E3E-4656-909D-F4BA7F8FF52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42802" y="1270983"/>
                <a:ext cx="1239391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ru-RU" sz="2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489"/>
                    </a:solidFill>
                    <a:effectLst/>
                    <a:uLnTx/>
                    <a:uFillTx/>
                    <a:ea typeface="+mj-ea"/>
                    <a:cs typeface="+mj-cs"/>
                    <a:sym typeface="Arial"/>
                  </a:rPr>
                  <a:t>751</a:t>
                </a:r>
              </a:p>
            </p:txBody>
          </p:sp>
          <p:sp>
            <p:nvSpPr>
              <p:cNvPr id="28" name="Заголовок 1">
                <a:extLst>
                  <a:ext uri="{FF2B5EF4-FFF2-40B4-BE49-F238E27FC236}">
                    <a16:creationId xmlns="" xmlns:a16="http://schemas.microsoft.com/office/drawing/2014/main" id="{565F1D29-40B4-4C5B-898C-17DBB0CAF9C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2549" y="1644895"/>
                <a:ext cx="1373444" cy="15388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F1F1F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+mn-lt"/>
                    <a:ea typeface="+mj-ea"/>
                    <a:cs typeface="+mj-cs"/>
                    <a:sym typeface="Arial"/>
                  </a:rPr>
                  <a:t>почтамт</a:t>
                </a:r>
              </a:p>
            </p:txBody>
          </p:sp>
        </p:grpSp>
        <p:grpSp>
          <p:nvGrpSpPr>
            <p:cNvPr id="16" name="Рисунок 34">
              <a:extLst>
                <a:ext uri="{FF2B5EF4-FFF2-40B4-BE49-F238E27FC236}">
                  <a16:creationId xmlns="" xmlns:a16="http://schemas.microsoft.com/office/drawing/2014/main" id="{543EA99D-264D-4F7F-B98A-49F5C11863EE}"/>
                </a:ext>
              </a:extLst>
            </p:cNvPr>
            <p:cNvGrpSpPr/>
            <p:nvPr/>
          </p:nvGrpSpPr>
          <p:grpSpPr>
            <a:xfrm>
              <a:off x="4912658" y="1474002"/>
              <a:ext cx="253891" cy="216078"/>
              <a:chOff x="3050872" y="1119227"/>
              <a:chExt cx="253891" cy="216078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17" name="Полилиния: фигура 19">
                <a:extLst>
                  <a:ext uri="{FF2B5EF4-FFF2-40B4-BE49-F238E27FC236}">
                    <a16:creationId xmlns="" xmlns:a16="http://schemas.microsoft.com/office/drawing/2014/main" id="{218F44EB-9DEC-4B60-A3F9-6D9C25AEE202}"/>
                  </a:ext>
                </a:extLst>
              </p:cNvPr>
              <p:cNvSpPr/>
              <p:nvPr/>
            </p:nvSpPr>
            <p:spPr>
              <a:xfrm>
                <a:off x="3142705" y="1146236"/>
                <a:ext cx="8103" cy="24309"/>
              </a:xfrm>
              <a:custGeom>
                <a:avLst/>
                <a:gdLst>
                  <a:gd name="connsiteX0" fmla="*/ 4051 w 8102"/>
                  <a:gd name="connsiteY0" fmla="*/ 24309 h 24308"/>
                  <a:gd name="connsiteX1" fmla="*/ 8103 w 8102"/>
                  <a:gd name="connsiteY1" fmla="*/ 20257 h 24308"/>
                  <a:gd name="connsiteX2" fmla="*/ 8103 w 8102"/>
                  <a:gd name="connsiteY2" fmla="*/ 4051 h 24308"/>
                  <a:gd name="connsiteX3" fmla="*/ 4051 w 8102"/>
                  <a:gd name="connsiteY3" fmla="*/ 0 h 24308"/>
                  <a:gd name="connsiteX4" fmla="*/ 0 w 8102"/>
                  <a:gd name="connsiteY4" fmla="*/ 4051 h 24308"/>
                  <a:gd name="connsiteX5" fmla="*/ 0 w 8102"/>
                  <a:gd name="connsiteY5" fmla="*/ 20257 h 24308"/>
                  <a:gd name="connsiteX6" fmla="*/ 4051 w 8102"/>
                  <a:gd name="connsiteY6" fmla="*/ 24309 h 24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02" h="24308">
                    <a:moveTo>
                      <a:pt x="4051" y="24309"/>
                    </a:moveTo>
                    <a:cubicBezTo>
                      <a:pt x="6289" y="24309"/>
                      <a:pt x="8103" y="22495"/>
                      <a:pt x="8103" y="20257"/>
                    </a:cubicBezTo>
                    <a:lnTo>
                      <a:pt x="8103" y="4051"/>
                    </a:lnTo>
                    <a:cubicBezTo>
                      <a:pt x="8103" y="1814"/>
                      <a:pt x="6289" y="0"/>
                      <a:pt x="4051" y="0"/>
                    </a:cubicBezTo>
                    <a:cubicBezTo>
                      <a:pt x="1814" y="0"/>
                      <a:pt x="0" y="1814"/>
                      <a:pt x="0" y="4051"/>
                    </a:cubicBezTo>
                    <a:lnTo>
                      <a:pt x="0" y="20257"/>
                    </a:lnTo>
                    <a:cubicBezTo>
                      <a:pt x="0" y="22495"/>
                      <a:pt x="1814" y="24309"/>
                      <a:pt x="4051" y="24309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8" name="Полилиния: фигура 20">
                <a:extLst>
                  <a:ext uri="{FF2B5EF4-FFF2-40B4-BE49-F238E27FC236}">
                    <a16:creationId xmlns="" xmlns:a16="http://schemas.microsoft.com/office/drawing/2014/main" id="{9CD3F45E-446E-4E8C-9DD7-9FB15CA8BF2F}"/>
                  </a:ext>
                </a:extLst>
              </p:cNvPr>
              <p:cNvSpPr/>
              <p:nvPr/>
            </p:nvSpPr>
            <p:spPr>
              <a:xfrm>
                <a:off x="3177817" y="1146236"/>
                <a:ext cx="8103" cy="24309"/>
              </a:xfrm>
              <a:custGeom>
                <a:avLst/>
                <a:gdLst>
                  <a:gd name="connsiteX0" fmla="*/ 4051 w 8102"/>
                  <a:gd name="connsiteY0" fmla="*/ 24309 h 24308"/>
                  <a:gd name="connsiteX1" fmla="*/ 8103 w 8102"/>
                  <a:gd name="connsiteY1" fmla="*/ 20257 h 24308"/>
                  <a:gd name="connsiteX2" fmla="*/ 8103 w 8102"/>
                  <a:gd name="connsiteY2" fmla="*/ 4051 h 24308"/>
                  <a:gd name="connsiteX3" fmla="*/ 4051 w 8102"/>
                  <a:gd name="connsiteY3" fmla="*/ 0 h 24308"/>
                  <a:gd name="connsiteX4" fmla="*/ 0 w 8102"/>
                  <a:gd name="connsiteY4" fmla="*/ 4051 h 24308"/>
                  <a:gd name="connsiteX5" fmla="*/ 0 w 8102"/>
                  <a:gd name="connsiteY5" fmla="*/ 20257 h 24308"/>
                  <a:gd name="connsiteX6" fmla="*/ 4051 w 8102"/>
                  <a:gd name="connsiteY6" fmla="*/ 24309 h 24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02" h="24308">
                    <a:moveTo>
                      <a:pt x="4051" y="24309"/>
                    </a:moveTo>
                    <a:cubicBezTo>
                      <a:pt x="6289" y="24309"/>
                      <a:pt x="8103" y="22495"/>
                      <a:pt x="8103" y="20257"/>
                    </a:cubicBezTo>
                    <a:lnTo>
                      <a:pt x="8103" y="4051"/>
                    </a:lnTo>
                    <a:cubicBezTo>
                      <a:pt x="8103" y="1814"/>
                      <a:pt x="6289" y="0"/>
                      <a:pt x="4051" y="0"/>
                    </a:cubicBezTo>
                    <a:cubicBezTo>
                      <a:pt x="1814" y="0"/>
                      <a:pt x="0" y="1814"/>
                      <a:pt x="0" y="4051"/>
                    </a:cubicBezTo>
                    <a:lnTo>
                      <a:pt x="0" y="20257"/>
                    </a:lnTo>
                    <a:cubicBezTo>
                      <a:pt x="0" y="22495"/>
                      <a:pt x="1814" y="24309"/>
                      <a:pt x="4051" y="24309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" name="Полилиния: фигура 21">
                <a:extLst>
                  <a:ext uri="{FF2B5EF4-FFF2-40B4-BE49-F238E27FC236}">
                    <a16:creationId xmlns="" xmlns:a16="http://schemas.microsoft.com/office/drawing/2014/main" id="{573E4C4D-C04E-4A5A-B9C0-7AADF41EFF29}"/>
                  </a:ext>
                </a:extLst>
              </p:cNvPr>
              <p:cNvSpPr/>
              <p:nvPr/>
            </p:nvSpPr>
            <p:spPr>
              <a:xfrm>
                <a:off x="3142705" y="1211060"/>
                <a:ext cx="8103" cy="24309"/>
              </a:xfrm>
              <a:custGeom>
                <a:avLst/>
                <a:gdLst>
                  <a:gd name="connsiteX0" fmla="*/ 0 w 8102"/>
                  <a:gd name="connsiteY0" fmla="*/ 20257 h 24308"/>
                  <a:gd name="connsiteX1" fmla="*/ 4051 w 8102"/>
                  <a:gd name="connsiteY1" fmla="*/ 24309 h 24308"/>
                  <a:gd name="connsiteX2" fmla="*/ 8103 w 8102"/>
                  <a:gd name="connsiteY2" fmla="*/ 20257 h 24308"/>
                  <a:gd name="connsiteX3" fmla="*/ 8103 w 8102"/>
                  <a:gd name="connsiteY3" fmla="*/ 4051 h 24308"/>
                  <a:gd name="connsiteX4" fmla="*/ 4051 w 8102"/>
                  <a:gd name="connsiteY4" fmla="*/ 0 h 24308"/>
                  <a:gd name="connsiteX5" fmla="*/ 0 w 8102"/>
                  <a:gd name="connsiteY5" fmla="*/ 4051 h 24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102" h="24308">
                    <a:moveTo>
                      <a:pt x="0" y="20257"/>
                    </a:moveTo>
                    <a:cubicBezTo>
                      <a:pt x="0" y="22495"/>
                      <a:pt x="1814" y="24309"/>
                      <a:pt x="4051" y="24309"/>
                    </a:cubicBezTo>
                    <a:cubicBezTo>
                      <a:pt x="6289" y="24309"/>
                      <a:pt x="8103" y="22495"/>
                      <a:pt x="8103" y="20257"/>
                    </a:cubicBezTo>
                    <a:lnTo>
                      <a:pt x="8103" y="4051"/>
                    </a:lnTo>
                    <a:cubicBezTo>
                      <a:pt x="8103" y="1814"/>
                      <a:pt x="6289" y="0"/>
                      <a:pt x="4051" y="0"/>
                    </a:cubicBezTo>
                    <a:cubicBezTo>
                      <a:pt x="1814" y="0"/>
                      <a:pt x="0" y="1814"/>
                      <a:pt x="0" y="4051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" name="Полилиния: фигура 22">
                <a:extLst>
                  <a:ext uri="{FF2B5EF4-FFF2-40B4-BE49-F238E27FC236}">
                    <a16:creationId xmlns="" xmlns:a16="http://schemas.microsoft.com/office/drawing/2014/main" id="{F76E1F68-5732-456C-A311-133271C61E3A}"/>
                  </a:ext>
                </a:extLst>
              </p:cNvPr>
              <p:cNvSpPr/>
              <p:nvPr/>
            </p:nvSpPr>
            <p:spPr>
              <a:xfrm>
                <a:off x="3177817" y="1211060"/>
                <a:ext cx="8103" cy="24309"/>
              </a:xfrm>
              <a:custGeom>
                <a:avLst/>
                <a:gdLst>
                  <a:gd name="connsiteX0" fmla="*/ 0 w 8102"/>
                  <a:gd name="connsiteY0" fmla="*/ 20257 h 24308"/>
                  <a:gd name="connsiteX1" fmla="*/ 4051 w 8102"/>
                  <a:gd name="connsiteY1" fmla="*/ 24309 h 24308"/>
                  <a:gd name="connsiteX2" fmla="*/ 8103 w 8102"/>
                  <a:gd name="connsiteY2" fmla="*/ 20257 h 24308"/>
                  <a:gd name="connsiteX3" fmla="*/ 8103 w 8102"/>
                  <a:gd name="connsiteY3" fmla="*/ 4051 h 24308"/>
                  <a:gd name="connsiteX4" fmla="*/ 4051 w 8102"/>
                  <a:gd name="connsiteY4" fmla="*/ 0 h 24308"/>
                  <a:gd name="connsiteX5" fmla="*/ 0 w 8102"/>
                  <a:gd name="connsiteY5" fmla="*/ 4051 h 24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102" h="24308">
                    <a:moveTo>
                      <a:pt x="0" y="20257"/>
                    </a:moveTo>
                    <a:cubicBezTo>
                      <a:pt x="0" y="22495"/>
                      <a:pt x="1814" y="24309"/>
                      <a:pt x="4051" y="24309"/>
                    </a:cubicBezTo>
                    <a:cubicBezTo>
                      <a:pt x="6289" y="24309"/>
                      <a:pt x="8103" y="22495"/>
                      <a:pt x="8103" y="20257"/>
                    </a:cubicBezTo>
                    <a:lnTo>
                      <a:pt x="8103" y="4051"/>
                    </a:lnTo>
                    <a:cubicBezTo>
                      <a:pt x="8103" y="1814"/>
                      <a:pt x="6289" y="0"/>
                      <a:pt x="4051" y="0"/>
                    </a:cubicBezTo>
                    <a:cubicBezTo>
                      <a:pt x="1814" y="0"/>
                      <a:pt x="0" y="1814"/>
                      <a:pt x="0" y="4051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1" name="Полилиния: фигура 36">
                <a:extLst>
                  <a:ext uri="{FF2B5EF4-FFF2-40B4-BE49-F238E27FC236}">
                    <a16:creationId xmlns="" xmlns:a16="http://schemas.microsoft.com/office/drawing/2014/main" id="{62FDEB25-23D2-44E9-BB37-0F602A32810E}"/>
                  </a:ext>
                </a:extLst>
              </p:cNvPr>
              <p:cNvSpPr/>
              <p:nvPr/>
            </p:nvSpPr>
            <p:spPr>
              <a:xfrm>
                <a:off x="3142705" y="1275883"/>
                <a:ext cx="8103" cy="24309"/>
              </a:xfrm>
              <a:custGeom>
                <a:avLst/>
                <a:gdLst>
                  <a:gd name="connsiteX0" fmla="*/ 0 w 8102"/>
                  <a:gd name="connsiteY0" fmla="*/ 20257 h 24308"/>
                  <a:gd name="connsiteX1" fmla="*/ 4051 w 8102"/>
                  <a:gd name="connsiteY1" fmla="*/ 24309 h 24308"/>
                  <a:gd name="connsiteX2" fmla="*/ 8103 w 8102"/>
                  <a:gd name="connsiteY2" fmla="*/ 20257 h 24308"/>
                  <a:gd name="connsiteX3" fmla="*/ 8103 w 8102"/>
                  <a:gd name="connsiteY3" fmla="*/ 4051 h 24308"/>
                  <a:gd name="connsiteX4" fmla="*/ 4051 w 8102"/>
                  <a:gd name="connsiteY4" fmla="*/ 0 h 24308"/>
                  <a:gd name="connsiteX5" fmla="*/ 0 w 8102"/>
                  <a:gd name="connsiteY5" fmla="*/ 4051 h 24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102" h="24308">
                    <a:moveTo>
                      <a:pt x="0" y="20257"/>
                    </a:moveTo>
                    <a:cubicBezTo>
                      <a:pt x="0" y="22495"/>
                      <a:pt x="1814" y="24309"/>
                      <a:pt x="4051" y="24309"/>
                    </a:cubicBezTo>
                    <a:cubicBezTo>
                      <a:pt x="6289" y="24309"/>
                      <a:pt x="8103" y="22495"/>
                      <a:pt x="8103" y="20257"/>
                    </a:cubicBezTo>
                    <a:lnTo>
                      <a:pt x="8103" y="4051"/>
                    </a:lnTo>
                    <a:cubicBezTo>
                      <a:pt x="8103" y="1814"/>
                      <a:pt x="6289" y="0"/>
                      <a:pt x="4051" y="0"/>
                    </a:cubicBezTo>
                    <a:cubicBezTo>
                      <a:pt x="1814" y="0"/>
                      <a:pt x="0" y="1814"/>
                      <a:pt x="0" y="4051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2" name="Полилиния: фигура 37">
                <a:extLst>
                  <a:ext uri="{FF2B5EF4-FFF2-40B4-BE49-F238E27FC236}">
                    <a16:creationId xmlns="" xmlns:a16="http://schemas.microsoft.com/office/drawing/2014/main" id="{ED26B8FB-21DF-4287-B79E-1807B7EBF14D}"/>
                  </a:ext>
                </a:extLst>
              </p:cNvPr>
              <p:cNvSpPr/>
              <p:nvPr/>
            </p:nvSpPr>
            <p:spPr>
              <a:xfrm>
                <a:off x="3177817" y="1275883"/>
                <a:ext cx="8103" cy="24309"/>
              </a:xfrm>
              <a:custGeom>
                <a:avLst/>
                <a:gdLst>
                  <a:gd name="connsiteX0" fmla="*/ 0 w 8102"/>
                  <a:gd name="connsiteY0" fmla="*/ 20257 h 24308"/>
                  <a:gd name="connsiteX1" fmla="*/ 4051 w 8102"/>
                  <a:gd name="connsiteY1" fmla="*/ 24309 h 24308"/>
                  <a:gd name="connsiteX2" fmla="*/ 8103 w 8102"/>
                  <a:gd name="connsiteY2" fmla="*/ 20257 h 24308"/>
                  <a:gd name="connsiteX3" fmla="*/ 8103 w 8102"/>
                  <a:gd name="connsiteY3" fmla="*/ 4051 h 24308"/>
                  <a:gd name="connsiteX4" fmla="*/ 4051 w 8102"/>
                  <a:gd name="connsiteY4" fmla="*/ 0 h 24308"/>
                  <a:gd name="connsiteX5" fmla="*/ 0 w 8102"/>
                  <a:gd name="connsiteY5" fmla="*/ 4051 h 24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102" h="24308">
                    <a:moveTo>
                      <a:pt x="0" y="20257"/>
                    </a:moveTo>
                    <a:cubicBezTo>
                      <a:pt x="0" y="22495"/>
                      <a:pt x="1814" y="24309"/>
                      <a:pt x="4051" y="24309"/>
                    </a:cubicBezTo>
                    <a:cubicBezTo>
                      <a:pt x="6289" y="24309"/>
                      <a:pt x="8103" y="22495"/>
                      <a:pt x="8103" y="20257"/>
                    </a:cubicBezTo>
                    <a:lnTo>
                      <a:pt x="8103" y="4051"/>
                    </a:lnTo>
                    <a:cubicBezTo>
                      <a:pt x="8103" y="1814"/>
                      <a:pt x="6289" y="0"/>
                      <a:pt x="4051" y="0"/>
                    </a:cubicBezTo>
                    <a:cubicBezTo>
                      <a:pt x="1814" y="0"/>
                      <a:pt x="0" y="1814"/>
                      <a:pt x="0" y="4051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3" name="Полилиния: фигура 38">
                <a:extLst>
                  <a:ext uri="{FF2B5EF4-FFF2-40B4-BE49-F238E27FC236}">
                    <a16:creationId xmlns="" xmlns:a16="http://schemas.microsoft.com/office/drawing/2014/main" id="{1505940A-7C08-44C1-BC63-FD0586724244}"/>
                  </a:ext>
                </a:extLst>
              </p:cNvPr>
              <p:cNvSpPr/>
              <p:nvPr/>
            </p:nvSpPr>
            <p:spPr>
              <a:xfrm>
                <a:off x="3077882" y="1213761"/>
                <a:ext cx="8103" cy="24309"/>
              </a:xfrm>
              <a:custGeom>
                <a:avLst/>
                <a:gdLst>
                  <a:gd name="connsiteX0" fmla="*/ 4051 w 8102"/>
                  <a:gd name="connsiteY0" fmla="*/ 0 h 24308"/>
                  <a:gd name="connsiteX1" fmla="*/ 0 w 8102"/>
                  <a:gd name="connsiteY1" fmla="*/ 4051 h 24308"/>
                  <a:gd name="connsiteX2" fmla="*/ 0 w 8102"/>
                  <a:gd name="connsiteY2" fmla="*/ 20257 h 24308"/>
                  <a:gd name="connsiteX3" fmla="*/ 4051 w 8102"/>
                  <a:gd name="connsiteY3" fmla="*/ 24309 h 24308"/>
                  <a:gd name="connsiteX4" fmla="*/ 8103 w 8102"/>
                  <a:gd name="connsiteY4" fmla="*/ 20257 h 24308"/>
                  <a:gd name="connsiteX5" fmla="*/ 8103 w 8102"/>
                  <a:gd name="connsiteY5" fmla="*/ 4051 h 24308"/>
                  <a:gd name="connsiteX6" fmla="*/ 4051 w 8102"/>
                  <a:gd name="connsiteY6" fmla="*/ 0 h 24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02" h="24308">
                    <a:moveTo>
                      <a:pt x="4051" y="0"/>
                    </a:moveTo>
                    <a:cubicBezTo>
                      <a:pt x="1814" y="0"/>
                      <a:pt x="0" y="1814"/>
                      <a:pt x="0" y="4051"/>
                    </a:cubicBezTo>
                    <a:lnTo>
                      <a:pt x="0" y="20257"/>
                    </a:lnTo>
                    <a:cubicBezTo>
                      <a:pt x="0" y="22495"/>
                      <a:pt x="1814" y="24309"/>
                      <a:pt x="4051" y="24309"/>
                    </a:cubicBezTo>
                    <a:cubicBezTo>
                      <a:pt x="6289" y="24309"/>
                      <a:pt x="8103" y="22495"/>
                      <a:pt x="8103" y="20257"/>
                    </a:cubicBezTo>
                    <a:lnTo>
                      <a:pt x="8103" y="4051"/>
                    </a:lnTo>
                    <a:cubicBezTo>
                      <a:pt x="8103" y="1814"/>
                      <a:pt x="6289" y="0"/>
                      <a:pt x="4051" y="0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4" name="Полилиния: фигура 39">
                <a:extLst>
                  <a:ext uri="{FF2B5EF4-FFF2-40B4-BE49-F238E27FC236}">
                    <a16:creationId xmlns="" xmlns:a16="http://schemas.microsoft.com/office/drawing/2014/main" id="{5D1F07B8-37C4-4DB5-A3D0-564C26A6DECB}"/>
                  </a:ext>
                </a:extLst>
              </p:cNvPr>
              <p:cNvSpPr/>
              <p:nvPr/>
            </p:nvSpPr>
            <p:spPr>
              <a:xfrm>
                <a:off x="3234538" y="1235368"/>
                <a:ext cx="8103" cy="24309"/>
              </a:xfrm>
              <a:custGeom>
                <a:avLst/>
                <a:gdLst>
                  <a:gd name="connsiteX0" fmla="*/ 0 w 8102"/>
                  <a:gd name="connsiteY0" fmla="*/ 4051 h 24308"/>
                  <a:gd name="connsiteX1" fmla="*/ 0 w 8102"/>
                  <a:gd name="connsiteY1" fmla="*/ 20257 h 24308"/>
                  <a:gd name="connsiteX2" fmla="*/ 4051 w 8102"/>
                  <a:gd name="connsiteY2" fmla="*/ 24309 h 24308"/>
                  <a:gd name="connsiteX3" fmla="*/ 8103 w 8102"/>
                  <a:gd name="connsiteY3" fmla="*/ 20257 h 24308"/>
                  <a:gd name="connsiteX4" fmla="*/ 8103 w 8102"/>
                  <a:gd name="connsiteY4" fmla="*/ 4051 h 24308"/>
                  <a:gd name="connsiteX5" fmla="*/ 4051 w 8102"/>
                  <a:gd name="connsiteY5" fmla="*/ 0 h 24308"/>
                  <a:gd name="connsiteX6" fmla="*/ 0 w 8102"/>
                  <a:gd name="connsiteY6" fmla="*/ 4051 h 24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02" h="24308">
                    <a:moveTo>
                      <a:pt x="0" y="4051"/>
                    </a:moveTo>
                    <a:lnTo>
                      <a:pt x="0" y="20257"/>
                    </a:lnTo>
                    <a:cubicBezTo>
                      <a:pt x="0" y="22495"/>
                      <a:pt x="1814" y="24309"/>
                      <a:pt x="4051" y="24309"/>
                    </a:cubicBezTo>
                    <a:cubicBezTo>
                      <a:pt x="6289" y="24309"/>
                      <a:pt x="8103" y="22495"/>
                      <a:pt x="8103" y="20257"/>
                    </a:cubicBezTo>
                    <a:lnTo>
                      <a:pt x="8103" y="4051"/>
                    </a:lnTo>
                    <a:cubicBezTo>
                      <a:pt x="8103" y="1814"/>
                      <a:pt x="6289" y="0"/>
                      <a:pt x="4051" y="0"/>
                    </a:cubicBezTo>
                    <a:cubicBezTo>
                      <a:pt x="1814" y="0"/>
                      <a:pt x="0" y="1814"/>
                      <a:pt x="0" y="4051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5" name="Полилиния: фигура 44">
                <a:extLst>
                  <a:ext uri="{FF2B5EF4-FFF2-40B4-BE49-F238E27FC236}">
                    <a16:creationId xmlns="" xmlns:a16="http://schemas.microsoft.com/office/drawing/2014/main" id="{4B7FADE0-5EB8-4167-B4A1-9FF5504A8FA0}"/>
                  </a:ext>
                </a:extLst>
              </p:cNvPr>
              <p:cNvSpPr/>
              <p:nvPr/>
            </p:nvSpPr>
            <p:spPr>
              <a:xfrm>
                <a:off x="3269650" y="1235368"/>
                <a:ext cx="8103" cy="24309"/>
              </a:xfrm>
              <a:custGeom>
                <a:avLst/>
                <a:gdLst>
                  <a:gd name="connsiteX0" fmla="*/ 4051 w 8102"/>
                  <a:gd name="connsiteY0" fmla="*/ 0 h 24308"/>
                  <a:gd name="connsiteX1" fmla="*/ 0 w 8102"/>
                  <a:gd name="connsiteY1" fmla="*/ 4051 h 24308"/>
                  <a:gd name="connsiteX2" fmla="*/ 0 w 8102"/>
                  <a:gd name="connsiteY2" fmla="*/ 20257 h 24308"/>
                  <a:gd name="connsiteX3" fmla="*/ 4051 w 8102"/>
                  <a:gd name="connsiteY3" fmla="*/ 24309 h 24308"/>
                  <a:gd name="connsiteX4" fmla="*/ 8103 w 8102"/>
                  <a:gd name="connsiteY4" fmla="*/ 20257 h 24308"/>
                  <a:gd name="connsiteX5" fmla="*/ 8103 w 8102"/>
                  <a:gd name="connsiteY5" fmla="*/ 4051 h 24308"/>
                  <a:gd name="connsiteX6" fmla="*/ 4051 w 8102"/>
                  <a:gd name="connsiteY6" fmla="*/ 0 h 24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02" h="24308">
                    <a:moveTo>
                      <a:pt x="4051" y="0"/>
                    </a:moveTo>
                    <a:cubicBezTo>
                      <a:pt x="1814" y="0"/>
                      <a:pt x="0" y="1814"/>
                      <a:pt x="0" y="4051"/>
                    </a:cubicBezTo>
                    <a:lnTo>
                      <a:pt x="0" y="20257"/>
                    </a:lnTo>
                    <a:cubicBezTo>
                      <a:pt x="0" y="22495"/>
                      <a:pt x="1814" y="24309"/>
                      <a:pt x="4051" y="24309"/>
                    </a:cubicBezTo>
                    <a:cubicBezTo>
                      <a:pt x="6289" y="24309"/>
                      <a:pt x="8103" y="22495"/>
                      <a:pt x="8103" y="20257"/>
                    </a:cubicBezTo>
                    <a:lnTo>
                      <a:pt x="8103" y="4051"/>
                    </a:lnTo>
                    <a:cubicBezTo>
                      <a:pt x="8103" y="1814"/>
                      <a:pt x="6289" y="0"/>
                      <a:pt x="4051" y="0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6" name="Полилиния: фигура 45">
                <a:extLst>
                  <a:ext uri="{FF2B5EF4-FFF2-40B4-BE49-F238E27FC236}">
                    <a16:creationId xmlns="" xmlns:a16="http://schemas.microsoft.com/office/drawing/2014/main" id="{61A4A107-30BE-402E-B204-EB4D02AC217C}"/>
                  </a:ext>
                </a:extLst>
              </p:cNvPr>
              <p:cNvSpPr/>
              <p:nvPr/>
            </p:nvSpPr>
            <p:spPr>
              <a:xfrm>
                <a:off x="3050872" y="1119227"/>
                <a:ext cx="253891" cy="216078"/>
              </a:xfrm>
              <a:custGeom>
                <a:avLst/>
                <a:gdLst>
                  <a:gd name="connsiteX0" fmla="*/ 252784 w 253891"/>
                  <a:gd name="connsiteY0" fmla="*/ 85837 h 216077"/>
                  <a:gd name="connsiteX1" fmla="*/ 207462 w 253891"/>
                  <a:gd name="connsiteY1" fmla="*/ 37625 h 216077"/>
                  <a:gd name="connsiteX2" fmla="*/ 204544 w 253891"/>
                  <a:gd name="connsiteY2" fmla="*/ 36355 h 216077"/>
                  <a:gd name="connsiteX3" fmla="*/ 201600 w 253891"/>
                  <a:gd name="connsiteY3" fmla="*/ 37570 h 216077"/>
                  <a:gd name="connsiteX4" fmla="*/ 162058 w 253891"/>
                  <a:gd name="connsiteY4" fmla="*/ 78328 h 216077"/>
                  <a:gd name="connsiteX5" fmla="*/ 162058 w 253891"/>
                  <a:gd name="connsiteY5" fmla="*/ 4051 h 216077"/>
                  <a:gd name="connsiteX6" fmla="*/ 158007 w 253891"/>
                  <a:gd name="connsiteY6" fmla="*/ 0 h 216077"/>
                  <a:gd name="connsiteX7" fmla="*/ 66174 w 253891"/>
                  <a:gd name="connsiteY7" fmla="*/ 0 h 216077"/>
                  <a:gd name="connsiteX8" fmla="*/ 62122 w 253891"/>
                  <a:gd name="connsiteY8" fmla="*/ 4051 h 216077"/>
                  <a:gd name="connsiteX9" fmla="*/ 62122 w 253891"/>
                  <a:gd name="connsiteY9" fmla="*/ 59421 h 216077"/>
                  <a:gd name="connsiteX10" fmla="*/ 4051 w 253891"/>
                  <a:gd name="connsiteY10" fmla="*/ 59421 h 216077"/>
                  <a:gd name="connsiteX11" fmla="*/ 0 w 253891"/>
                  <a:gd name="connsiteY11" fmla="*/ 63473 h 216077"/>
                  <a:gd name="connsiteX12" fmla="*/ 0 w 253891"/>
                  <a:gd name="connsiteY12" fmla="*/ 152605 h 216077"/>
                  <a:gd name="connsiteX13" fmla="*/ 4051 w 253891"/>
                  <a:gd name="connsiteY13" fmla="*/ 156656 h 216077"/>
                  <a:gd name="connsiteX14" fmla="*/ 8103 w 253891"/>
                  <a:gd name="connsiteY14" fmla="*/ 152605 h 216077"/>
                  <a:gd name="connsiteX15" fmla="*/ 8103 w 253891"/>
                  <a:gd name="connsiteY15" fmla="*/ 67524 h 216077"/>
                  <a:gd name="connsiteX16" fmla="*/ 62122 w 253891"/>
                  <a:gd name="connsiteY16" fmla="*/ 67524 h 216077"/>
                  <a:gd name="connsiteX17" fmla="*/ 62122 w 253891"/>
                  <a:gd name="connsiteY17" fmla="*/ 122894 h 216077"/>
                  <a:gd name="connsiteX18" fmla="*/ 66174 w 253891"/>
                  <a:gd name="connsiteY18" fmla="*/ 126946 h 216077"/>
                  <a:gd name="connsiteX19" fmla="*/ 70225 w 253891"/>
                  <a:gd name="connsiteY19" fmla="*/ 122894 h 216077"/>
                  <a:gd name="connsiteX20" fmla="*/ 70225 w 253891"/>
                  <a:gd name="connsiteY20" fmla="*/ 8103 h 216077"/>
                  <a:gd name="connsiteX21" fmla="*/ 153955 w 253891"/>
                  <a:gd name="connsiteY21" fmla="*/ 8103 h 216077"/>
                  <a:gd name="connsiteX22" fmla="*/ 153955 w 253891"/>
                  <a:gd name="connsiteY22" fmla="*/ 207975 h 216077"/>
                  <a:gd name="connsiteX23" fmla="*/ 44566 w 253891"/>
                  <a:gd name="connsiteY23" fmla="*/ 207975 h 216077"/>
                  <a:gd name="connsiteX24" fmla="*/ 40515 w 253891"/>
                  <a:gd name="connsiteY24" fmla="*/ 212026 h 216077"/>
                  <a:gd name="connsiteX25" fmla="*/ 44566 w 253891"/>
                  <a:gd name="connsiteY25" fmla="*/ 216078 h 216077"/>
                  <a:gd name="connsiteX26" fmla="*/ 206624 w 253891"/>
                  <a:gd name="connsiteY26" fmla="*/ 216078 h 216077"/>
                  <a:gd name="connsiteX27" fmla="*/ 210676 w 253891"/>
                  <a:gd name="connsiteY27" fmla="*/ 212026 h 216077"/>
                  <a:gd name="connsiteX28" fmla="*/ 206624 w 253891"/>
                  <a:gd name="connsiteY28" fmla="*/ 207975 h 216077"/>
                  <a:gd name="connsiteX29" fmla="*/ 162058 w 253891"/>
                  <a:gd name="connsiteY29" fmla="*/ 207975 h 216077"/>
                  <a:gd name="connsiteX30" fmla="*/ 162058 w 253891"/>
                  <a:gd name="connsiteY30" fmla="*/ 89807 h 216077"/>
                  <a:gd name="connsiteX31" fmla="*/ 204463 w 253891"/>
                  <a:gd name="connsiteY31" fmla="*/ 46268 h 216077"/>
                  <a:gd name="connsiteX32" fmla="*/ 245788 w 253891"/>
                  <a:gd name="connsiteY32" fmla="*/ 90212 h 216077"/>
                  <a:gd name="connsiteX33" fmla="*/ 245788 w 253891"/>
                  <a:gd name="connsiteY33" fmla="*/ 147203 h 216077"/>
                  <a:gd name="connsiteX34" fmla="*/ 249840 w 253891"/>
                  <a:gd name="connsiteY34" fmla="*/ 151254 h 216077"/>
                  <a:gd name="connsiteX35" fmla="*/ 253891 w 253891"/>
                  <a:gd name="connsiteY35" fmla="*/ 147203 h 216077"/>
                  <a:gd name="connsiteX36" fmla="*/ 253891 w 253891"/>
                  <a:gd name="connsiteY36" fmla="*/ 88592 h 216077"/>
                  <a:gd name="connsiteX37" fmla="*/ 252784 w 253891"/>
                  <a:gd name="connsiteY37" fmla="*/ 85837 h 216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53891" h="216077">
                    <a:moveTo>
                      <a:pt x="252784" y="85837"/>
                    </a:moveTo>
                    <a:lnTo>
                      <a:pt x="207462" y="37625"/>
                    </a:lnTo>
                    <a:cubicBezTo>
                      <a:pt x="206703" y="36821"/>
                      <a:pt x="205649" y="36363"/>
                      <a:pt x="204544" y="36355"/>
                    </a:cubicBezTo>
                    <a:cubicBezTo>
                      <a:pt x="203449" y="36394"/>
                      <a:pt x="202404" y="36825"/>
                      <a:pt x="201600" y="37570"/>
                    </a:cubicBezTo>
                    <a:lnTo>
                      <a:pt x="162058" y="78328"/>
                    </a:lnTo>
                    <a:lnTo>
                      <a:pt x="162058" y="4051"/>
                    </a:lnTo>
                    <a:cubicBezTo>
                      <a:pt x="162058" y="1814"/>
                      <a:pt x="160244" y="0"/>
                      <a:pt x="158007" y="0"/>
                    </a:cubicBezTo>
                    <a:lnTo>
                      <a:pt x="66174" y="0"/>
                    </a:lnTo>
                    <a:cubicBezTo>
                      <a:pt x="63936" y="0"/>
                      <a:pt x="62122" y="1814"/>
                      <a:pt x="62122" y="4051"/>
                    </a:cubicBezTo>
                    <a:lnTo>
                      <a:pt x="62122" y="59421"/>
                    </a:lnTo>
                    <a:lnTo>
                      <a:pt x="4051" y="59421"/>
                    </a:lnTo>
                    <a:cubicBezTo>
                      <a:pt x="1814" y="59421"/>
                      <a:pt x="0" y="61235"/>
                      <a:pt x="0" y="63473"/>
                    </a:cubicBezTo>
                    <a:lnTo>
                      <a:pt x="0" y="152605"/>
                    </a:lnTo>
                    <a:cubicBezTo>
                      <a:pt x="0" y="154842"/>
                      <a:pt x="1814" y="156656"/>
                      <a:pt x="4051" y="156656"/>
                    </a:cubicBezTo>
                    <a:cubicBezTo>
                      <a:pt x="6289" y="156656"/>
                      <a:pt x="8103" y="154842"/>
                      <a:pt x="8103" y="152605"/>
                    </a:cubicBezTo>
                    <a:lnTo>
                      <a:pt x="8103" y="67524"/>
                    </a:lnTo>
                    <a:lnTo>
                      <a:pt x="62122" y="67524"/>
                    </a:lnTo>
                    <a:lnTo>
                      <a:pt x="62122" y="122894"/>
                    </a:lnTo>
                    <a:cubicBezTo>
                      <a:pt x="62122" y="125132"/>
                      <a:pt x="63936" y="126946"/>
                      <a:pt x="66174" y="126946"/>
                    </a:cubicBezTo>
                    <a:cubicBezTo>
                      <a:pt x="68411" y="126946"/>
                      <a:pt x="70225" y="125132"/>
                      <a:pt x="70225" y="122894"/>
                    </a:cubicBezTo>
                    <a:lnTo>
                      <a:pt x="70225" y="8103"/>
                    </a:lnTo>
                    <a:lnTo>
                      <a:pt x="153955" y="8103"/>
                    </a:lnTo>
                    <a:lnTo>
                      <a:pt x="153955" y="207975"/>
                    </a:lnTo>
                    <a:lnTo>
                      <a:pt x="44566" y="207975"/>
                    </a:lnTo>
                    <a:cubicBezTo>
                      <a:pt x="42329" y="207975"/>
                      <a:pt x="40515" y="209789"/>
                      <a:pt x="40515" y="212026"/>
                    </a:cubicBezTo>
                    <a:cubicBezTo>
                      <a:pt x="40515" y="214264"/>
                      <a:pt x="42329" y="216078"/>
                      <a:pt x="44566" y="216078"/>
                    </a:cubicBezTo>
                    <a:lnTo>
                      <a:pt x="206624" y="216078"/>
                    </a:lnTo>
                    <a:cubicBezTo>
                      <a:pt x="208862" y="216078"/>
                      <a:pt x="210676" y="214264"/>
                      <a:pt x="210676" y="212026"/>
                    </a:cubicBezTo>
                    <a:cubicBezTo>
                      <a:pt x="210676" y="209789"/>
                      <a:pt x="208862" y="207975"/>
                      <a:pt x="206624" y="207975"/>
                    </a:cubicBezTo>
                    <a:lnTo>
                      <a:pt x="162058" y="207975"/>
                    </a:lnTo>
                    <a:lnTo>
                      <a:pt x="162058" y="89807"/>
                    </a:lnTo>
                    <a:lnTo>
                      <a:pt x="204463" y="46268"/>
                    </a:lnTo>
                    <a:lnTo>
                      <a:pt x="245788" y="90212"/>
                    </a:lnTo>
                    <a:lnTo>
                      <a:pt x="245788" y="147203"/>
                    </a:lnTo>
                    <a:cubicBezTo>
                      <a:pt x="245788" y="149440"/>
                      <a:pt x="247602" y="151254"/>
                      <a:pt x="249840" y="151254"/>
                    </a:cubicBezTo>
                    <a:cubicBezTo>
                      <a:pt x="252077" y="151254"/>
                      <a:pt x="253891" y="149440"/>
                      <a:pt x="253891" y="147203"/>
                    </a:cubicBezTo>
                    <a:lnTo>
                      <a:pt x="253891" y="88592"/>
                    </a:lnTo>
                    <a:cubicBezTo>
                      <a:pt x="253884" y="87567"/>
                      <a:pt x="253488" y="86582"/>
                      <a:pt x="252784" y="8583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88" name="Группа 12">
            <a:extLst>
              <a:ext uri="{FF2B5EF4-FFF2-40B4-BE49-F238E27FC236}">
                <a16:creationId xmlns="" xmlns:a16="http://schemas.microsoft.com/office/drawing/2014/main" id="{6ECB130D-4A47-4E4D-8C8D-B22833868C8C}"/>
              </a:ext>
            </a:extLst>
          </p:cNvPr>
          <p:cNvGrpSpPr/>
          <p:nvPr/>
        </p:nvGrpSpPr>
        <p:grpSpPr>
          <a:xfrm>
            <a:off x="9070528" y="2463918"/>
            <a:ext cx="1533424" cy="549858"/>
            <a:chOff x="622549" y="1248925"/>
            <a:chExt cx="1533424" cy="549858"/>
          </a:xfrm>
        </p:grpSpPr>
        <p:sp>
          <p:nvSpPr>
            <p:cNvPr id="100" name="Заголовок 1">
              <a:extLst>
                <a:ext uri="{FF2B5EF4-FFF2-40B4-BE49-F238E27FC236}">
                  <a16:creationId xmlns="" xmlns:a16="http://schemas.microsoft.com/office/drawing/2014/main" id="{8ADD8816-9E3E-4656-909D-F4BA7F8FF527}"/>
                </a:ext>
              </a:extLst>
            </p:cNvPr>
            <p:cNvSpPr txBox="1">
              <a:spLocks/>
            </p:cNvSpPr>
            <p:nvPr/>
          </p:nvSpPr>
          <p:spPr>
            <a:xfrm>
              <a:off x="916582" y="1248925"/>
              <a:ext cx="1239391" cy="3693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24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1489"/>
                  </a:solidFill>
                  <a:effectLst/>
                  <a:uLnTx/>
                  <a:uFillTx/>
                  <a:ea typeface="+mj-ea"/>
                  <a:cs typeface="+mj-cs"/>
                  <a:sym typeface="Arial"/>
                </a:rPr>
                <a:t>331 тыс.</a:t>
              </a:r>
              <a:endParaRPr kumimoji="0" lang="ru-RU" sz="2400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ea typeface="+mj-ea"/>
                <a:cs typeface="+mj-cs"/>
                <a:sym typeface="Arial"/>
              </a:endParaRPr>
            </a:p>
          </p:txBody>
        </p:sp>
        <p:sp>
          <p:nvSpPr>
            <p:cNvPr id="101" name="Заголовок 1">
              <a:extLst>
                <a:ext uri="{FF2B5EF4-FFF2-40B4-BE49-F238E27FC236}">
                  <a16:creationId xmlns="" xmlns:a16="http://schemas.microsoft.com/office/drawing/2014/main" id="{565F1D29-40B4-4C5B-898C-17DBB0CAF9CC}"/>
                </a:ext>
              </a:extLst>
            </p:cNvPr>
            <p:cNvSpPr txBox="1">
              <a:spLocks/>
            </p:cNvSpPr>
            <p:nvPr/>
          </p:nvSpPr>
          <p:spPr>
            <a:xfrm>
              <a:off x="622549" y="1644895"/>
              <a:ext cx="1373444" cy="15388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1F1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rPr>
                <a:t>сотрудников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F1F1F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Arial"/>
              </a:endParaRPr>
            </a:p>
          </p:txBody>
        </p:sp>
      </p:grpSp>
      <p:grpSp>
        <p:nvGrpSpPr>
          <p:cNvPr id="103" name="Graphic 118">
            <a:extLst>
              <a:ext uri="{FF2B5EF4-FFF2-40B4-BE49-F238E27FC236}">
                <a16:creationId xmlns="" xmlns:a16="http://schemas.microsoft.com/office/drawing/2014/main" id="{DD61B65F-BD90-48B2-809D-4E7972BFFEC5}"/>
              </a:ext>
            </a:extLst>
          </p:cNvPr>
          <p:cNvGrpSpPr/>
          <p:nvPr/>
        </p:nvGrpSpPr>
        <p:grpSpPr>
          <a:xfrm>
            <a:off x="9059851" y="2511898"/>
            <a:ext cx="199158" cy="236266"/>
            <a:chOff x="813643" y="3523764"/>
            <a:chExt cx="245118" cy="29078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04" name="Freeform: Shape 102">
              <a:extLst>
                <a:ext uri="{FF2B5EF4-FFF2-40B4-BE49-F238E27FC236}">
                  <a16:creationId xmlns="" xmlns:a16="http://schemas.microsoft.com/office/drawing/2014/main" id="{252942AB-EB4F-4242-8518-D736A0808945}"/>
                </a:ext>
              </a:extLst>
            </p:cNvPr>
            <p:cNvSpPr/>
            <p:nvPr/>
          </p:nvSpPr>
          <p:spPr>
            <a:xfrm>
              <a:off x="841382" y="3523764"/>
              <a:ext cx="189620" cy="120247"/>
            </a:xfrm>
            <a:custGeom>
              <a:avLst/>
              <a:gdLst>
                <a:gd name="connsiteX0" fmla="*/ 188185 w 189619"/>
                <a:gd name="connsiteY0" fmla="*/ 33704 h 120246"/>
                <a:gd name="connsiteX1" fmla="*/ 143613 w 189619"/>
                <a:gd name="connsiteY1" fmla="*/ 6937 h 120246"/>
                <a:gd name="connsiteX2" fmla="*/ 94820 w 189619"/>
                <a:gd name="connsiteY2" fmla="*/ 0 h 120246"/>
                <a:gd name="connsiteX3" fmla="*/ 46028 w 189619"/>
                <a:gd name="connsiteY3" fmla="*/ 6937 h 120246"/>
                <a:gd name="connsiteX4" fmla="*/ 1456 w 189619"/>
                <a:gd name="connsiteY4" fmla="*/ 33704 h 120246"/>
                <a:gd name="connsiteX5" fmla="*/ 11920 w 189619"/>
                <a:gd name="connsiteY5" fmla="*/ 64170 h 120246"/>
                <a:gd name="connsiteX6" fmla="*/ 12266 w 189619"/>
                <a:gd name="connsiteY6" fmla="*/ 64517 h 120246"/>
                <a:gd name="connsiteX7" fmla="*/ 12266 w 189619"/>
                <a:gd name="connsiteY7" fmla="*/ 85676 h 120246"/>
                <a:gd name="connsiteX8" fmla="*/ 12209 w 189619"/>
                <a:gd name="connsiteY8" fmla="*/ 88162 h 120246"/>
                <a:gd name="connsiteX9" fmla="*/ 12209 w 189619"/>
                <a:gd name="connsiteY9" fmla="*/ 88277 h 120246"/>
                <a:gd name="connsiteX10" fmla="*/ 13596 w 189619"/>
                <a:gd name="connsiteY10" fmla="*/ 100244 h 120246"/>
                <a:gd name="connsiteX11" fmla="*/ 26777 w 189619"/>
                <a:gd name="connsiteY11" fmla="*/ 112442 h 120246"/>
                <a:gd name="connsiteX12" fmla="*/ 94820 w 189619"/>
                <a:gd name="connsiteY12" fmla="*/ 120709 h 120246"/>
                <a:gd name="connsiteX13" fmla="*/ 161823 w 189619"/>
                <a:gd name="connsiteY13" fmla="*/ 112963 h 120246"/>
                <a:gd name="connsiteX14" fmla="*/ 163095 w 189619"/>
                <a:gd name="connsiteY14" fmla="*/ 112442 h 120246"/>
                <a:gd name="connsiteX15" fmla="*/ 174079 w 189619"/>
                <a:gd name="connsiteY15" fmla="*/ 104233 h 120246"/>
                <a:gd name="connsiteX16" fmla="*/ 177548 w 189619"/>
                <a:gd name="connsiteY16" fmla="*/ 87757 h 120246"/>
                <a:gd name="connsiteX17" fmla="*/ 177432 w 189619"/>
                <a:gd name="connsiteY17" fmla="*/ 85676 h 120246"/>
                <a:gd name="connsiteX18" fmla="*/ 177432 w 189619"/>
                <a:gd name="connsiteY18" fmla="*/ 64633 h 120246"/>
                <a:gd name="connsiteX19" fmla="*/ 177779 w 189619"/>
                <a:gd name="connsiteY19" fmla="*/ 64286 h 120246"/>
                <a:gd name="connsiteX20" fmla="*/ 188185 w 189619"/>
                <a:gd name="connsiteY20" fmla="*/ 33704 h 120246"/>
                <a:gd name="connsiteX21" fmla="*/ 165870 w 189619"/>
                <a:gd name="connsiteY21" fmla="*/ 99493 h 120246"/>
                <a:gd name="connsiteX22" fmla="*/ 165870 w 189619"/>
                <a:gd name="connsiteY22" fmla="*/ 99493 h 120246"/>
                <a:gd name="connsiteX23" fmla="*/ 94820 w 189619"/>
                <a:gd name="connsiteY23" fmla="*/ 111344 h 120246"/>
                <a:gd name="connsiteX24" fmla="*/ 24118 w 189619"/>
                <a:gd name="connsiteY24" fmla="*/ 99666 h 120246"/>
                <a:gd name="connsiteX25" fmla="*/ 21343 w 189619"/>
                <a:gd name="connsiteY25" fmla="*/ 91457 h 120246"/>
                <a:gd name="connsiteX26" fmla="*/ 21343 w 189619"/>
                <a:gd name="connsiteY26" fmla="*/ 90301 h 120246"/>
                <a:gd name="connsiteX27" fmla="*/ 168414 w 189619"/>
                <a:gd name="connsiteY27" fmla="*/ 90301 h 120246"/>
                <a:gd name="connsiteX28" fmla="*/ 168414 w 189619"/>
                <a:gd name="connsiteY28" fmla="*/ 91457 h 120246"/>
                <a:gd name="connsiteX29" fmla="*/ 165870 w 189619"/>
                <a:gd name="connsiteY29" fmla="*/ 99493 h 120246"/>
                <a:gd name="connsiteX30" fmla="*/ 168125 w 189619"/>
                <a:gd name="connsiteY30" fmla="*/ 67118 h 120246"/>
                <a:gd name="connsiteX31" fmla="*/ 168125 w 189619"/>
                <a:gd name="connsiteY31" fmla="*/ 80993 h 120246"/>
                <a:gd name="connsiteX32" fmla="*/ 21516 w 189619"/>
                <a:gd name="connsiteY32" fmla="*/ 80993 h 120246"/>
                <a:gd name="connsiteX33" fmla="*/ 21516 w 189619"/>
                <a:gd name="connsiteY33" fmla="*/ 67118 h 120246"/>
                <a:gd name="connsiteX34" fmla="*/ 168125 w 189619"/>
                <a:gd name="connsiteY34" fmla="*/ 67118 h 120246"/>
                <a:gd name="connsiteX35" fmla="*/ 85686 w 189619"/>
                <a:gd name="connsiteY35" fmla="*/ 57869 h 120246"/>
                <a:gd name="connsiteX36" fmla="*/ 85686 w 189619"/>
                <a:gd name="connsiteY36" fmla="*/ 43994 h 120246"/>
                <a:gd name="connsiteX37" fmla="*/ 103955 w 189619"/>
                <a:gd name="connsiteY37" fmla="*/ 43994 h 120246"/>
                <a:gd name="connsiteX38" fmla="*/ 103955 w 189619"/>
                <a:gd name="connsiteY38" fmla="*/ 57869 h 120246"/>
                <a:gd name="connsiteX39" fmla="*/ 85686 w 189619"/>
                <a:gd name="connsiteY39" fmla="*/ 57869 h 120246"/>
                <a:gd name="connsiteX40" fmla="*/ 171246 w 189619"/>
                <a:gd name="connsiteY40" fmla="*/ 57522 h 120246"/>
                <a:gd name="connsiteX41" fmla="*/ 170899 w 189619"/>
                <a:gd name="connsiteY41" fmla="*/ 57869 h 120246"/>
                <a:gd name="connsiteX42" fmla="*/ 113204 w 189619"/>
                <a:gd name="connsiteY42" fmla="*/ 57869 h 120246"/>
                <a:gd name="connsiteX43" fmla="*/ 113204 w 189619"/>
                <a:gd name="connsiteY43" fmla="*/ 39369 h 120246"/>
                <a:gd name="connsiteX44" fmla="*/ 108579 w 189619"/>
                <a:gd name="connsiteY44" fmla="*/ 34744 h 120246"/>
                <a:gd name="connsiteX45" fmla="*/ 81061 w 189619"/>
                <a:gd name="connsiteY45" fmla="*/ 34744 h 120246"/>
                <a:gd name="connsiteX46" fmla="*/ 76437 w 189619"/>
                <a:gd name="connsiteY46" fmla="*/ 39369 h 120246"/>
                <a:gd name="connsiteX47" fmla="*/ 76437 w 189619"/>
                <a:gd name="connsiteY47" fmla="*/ 57869 h 120246"/>
                <a:gd name="connsiteX48" fmla="*/ 18741 w 189619"/>
                <a:gd name="connsiteY48" fmla="*/ 57869 h 120246"/>
                <a:gd name="connsiteX49" fmla="*/ 18394 w 189619"/>
                <a:gd name="connsiteY49" fmla="*/ 57522 h 120246"/>
                <a:gd name="connsiteX50" fmla="*/ 10012 w 189619"/>
                <a:gd name="connsiteY50" fmla="*/ 37115 h 120246"/>
                <a:gd name="connsiteX51" fmla="*/ 48283 w 189619"/>
                <a:gd name="connsiteY51" fmla="*/ 15898 h 120246"/>
                <a:gd name="connsiteX52" fmla="*/ 94820 w 189619"/>
                <a:gd name="connsiteY52" fmla="*/ 9250 h 120246"/>
                <a:gd name="connsiteX53" fmla="*/ 141300 w 189619"/>
                <a:gd name="connsiteY53" fmla="*/ 15898 h 120246"/>
                <a:gd name="connsiteX54" fmla="*/ 179571 w 189619"/>
                <a:gd name="connsiteY54" fmla="*/ 37115 h 120246"/>
                <a:gd name="connsiteX55" fmla="*/ 171246 w 189619"/>
                <a:gd name="connsiteY55" fmla="*/ 57522 h 12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89619" h="120246">
                  <a:moveTo>
                    <a:pt x="188185" y="33704"/>
                  </a:moveTo>
                  <a:cubicBezTo>
                    <a:pt x="183676" y="22315"/>
                    <a:pt x="168703" y="13297"/>
                    <a:pt x="143613" y="6937"/>
                  </a:cubicBezTo>
                  <a:cubicBezTo>
                    <a:pt x="123668" y="1850"/>
                    <a:pt x="103492" y="0"/>
                    <a:pt x="94820" y="0"/>
                  </a:cubicBezTo>
                  <a:cubicBezTo>
                    <a:pt x="86149" y="0"/>
                    <a:pt x="65973" y="1850"/>
                    <a:pt x="46028" y="6937"/>
                  </a:cubicBezTo>
                  <a:cubicBezTo>
                    <a:pt x="20938" y="13297"/>
                    <a:pt x="5965" y="22315"/>
                    <a:pt x="1456" y="33704"/>
                  </a:cubicBezTo>
                  <a:cubicBezTo>
                    <a:pt x="-2302" y="43185"/>
                    <a:pt x="1225" y="53417"/>
                    <a:pt x="11920" y="64170"/>
                  </a:cubicBezTo>
                  <a:lnTo>
                    <a:pt x="12266" y="64517"/>
                  </a:lnTo>
                  <a:lnTo>
                    <a:pt x="12266" y="85676"/>
                  </a:lnTo>
                  <a:cubicBezTo>
                    <a:pt x="12266" y="86427"/>
                    <a:pt x="12209" y="87295"/>
                    <a:pt x="12209" y="88162"/>
                  </a:cubicBezTo>
                  <a:lnTo>
                    <a:pt x="12209" y="88277"/>
                  </a:lnTo>
                  <a:cubicBezTo>
                    <a:pt x="12035" y="91688"/>
                    <a:pt x="11862" y="95966"/>
                    <a:pt x="13596" y="100244"/>
                  </a:cubicBezTo>
                  <a:cubicBezTo>
                    <a:pt x="20533" y="107297"/>
                    <a:pt x="25968" y="111749"/>
                    <a:pt x="26777" y="112442"/>
                  </a:cubicBezTo>
                  <a:cubicBezTo>
                    <a:pt x="39322" y="117992"/>
                    <a:pt x="61579" y="120709"/>
                    <a:pt x="94820" y="120709"/>
                  </a:cubicBezTo>
                  <a:cubicBezTo>
                    <a:pt x="127137" y="120709"/>
                    <a:pt x="149047" y="118166"/>
                    <a:pt x="161823" y="112963"/>
                  </a:cubicBezTo>
                  <a:cubicBezTo>
                    <a:pt x="162286" y="112731"/>
                    <a:pt x="162690" y="112558"/>
                    <a:pt x="163095" y="112442"/>
                  </a:cubicBezTo>
                  <a:cubicBezTo>
                    <a:pt x="170206" y="109956"/>
                    <a:pt x="174021" y="104291"/>
                    <a:pt x="174079" y="104233"/>
                  </a:cubicBezTo>
                  <a:cubicBezTo>
                    <a:pt x="178299" y="98452"/>
                    <a:pt x="177837" y="92266"/>
                    <a:pt x="177548" y="87757"/>
                  </a:cubicBezTo>
                  <a:cubicBezTo>
                    <a:pt x="177490" y="87063"/>
                    <a:pt x="177432" y="86370"/>
                    <a:pt x="177432" y="85676"/>
                  </a:cubicBezTo>
                  <a:lnTo>
                    <a:pt x="177432" y="64633"/>
                  </a:lnTo>
                  <a:lnTo>
                    <a:pt x="177779" y="64286"/>
                  </a:lnTo>
                  <a:cubicBezTo>
                    <a:pt x="188416" y="53417"/>
                    <a:pt x="191943" y="43127"/>
                    <a:pt x="188185" y="33704"/>
                  </a:cubicBezTo>
                  <a:close/>
                  <a:moveTo>
                    <a:pt x="165870" y="99493"/>
                  </a:moveTo>
                  <a:lnTo>
                    <a:pt x="165870" y="99493"/>
                  </a:lnTo>
                  <a:cubicBezTo>
                    <a:pt x="158644" y="107239"/>
                    <a:pt x="134074" y="111344"/>
                    <a:pt x="94820" y="111344"/>
                  </a:cubicBezTo>
                  <a:cubicBezTo>
                    <a:pt x="55336" y="111344"/>
                    <a:pt x="31575" y="107413"/>
                    <a:pt x="24118" y="99666"/>
                  </a:cubicBezTo>
                  <a:cubicBezTo>
                    <a:pt x="21805" y="97238"/>
                    <a:pt x="21343" y="94637"/>
                    <a:pt x="21343" y="91457"/>
                  </a:cubicBezTo>
                  <a:lnTo>
                    <a:pt x="21343" y="90301"/>
                  </a:lnTo>
                  <a:lnTo>
                    <a:pt x="168414" y="90301"/>
                  </a:lnTo>
                  <a:lnTo>
                    <a:pt x="168414" y="91457"/>
                  </a:lnTo>
                  <a:cubicBezTo>
                    <a:pt x="168529" y="94521"/>
                    <a:pt x="168125" y="97065"/>
                    <a:pt x="165870" y="99493"/>
                  </a:cubicBezTo>
                  <a:close/>
                  <a:moveTo>
                    <a:pt x="168125" y="67118"/>
                  </a:moveTo>
                  <a:lnTo>
                    <a:pt x="168125" y="80993"/>
                  </a:lnTo>
                  <a:lnTo>
                    <a:pt x="21516" y="80993"/>
                  </a:lnTo>
                  <a:lnTo>
                    <a:pt x="21516" y="67118"/>
                  </a:lnTo>
                  <a:lnTo>
                    <a:pt x="168125" y="67118"/>
                  </a:lnTo>
                  <a:close/>
                  <a:moveTo>
                    <a:pt x="85686" y="57869"/>
                  </a:moveTo>
                  <a:lnTo>
                    <a:pt x="85686" y="43994"/>
                  </a:lnTo>
                  <a:lnTo>
                    <a:pt x="103955" y="43994"/>
                  </a:lnTo>
                  <a:lnTo>
                    <a:pt x="103955" y="57869"/>
                  </a:lnTo>
                  <a:lnTo>
                    <a:pt x="85686" y="57869"/>
                  </a:lnTo>
                  <a:close/>
                  <a:moveTo>
                    <a:pt x="171246" y="57522"/>
                  </a:moveTo>
                  <a:lnTo>
                    <a:pt x="170899" y="57869"/>
                  </a:lnTo>
                  <a:lnTo>
                    <a:pt x="113204" y="57869"/>
                  </a:lnTo>
                  <a:lnTo>
                    <a:pt x="113204" y="39369"/>
                  </a:lnTo>
                  <a:cubicBezTo>
                    <a:pt x="113204" y="36826"/>
                    <a:pt x="111123" y="34744"/>
                    <a:pt x="108579" y="34744"/>
                  </a:cubicBezTo>
                  <a:lnTo>
                    <a:pt x="81061" y="34744"/>
                  </a:lnTo>
                  <a:cubicBezTo>
                    <a:pt x="78518" y="34744"/>
                    <a:pt x="76437" y="36826"/>
                    <a:pt x="76437" y="39369"/>
                  </a:cubicBezTo>
                  <a:lnTo>
                    <a:pt x="76437" y="57869"/>
                  </a:lnTo>
                  <a:lnTo>
                    <a:pt x="18741" y="57869"/>
                  </a:lnTo>
                  <a:lnTo>
                    <a:pt x="18394" y="57522"/>
                  </a:lnTo>
                  <a:cubicBezTo>
                    <a:pt x="10590" y="49717"/>
                    <a:pt x="7757" y="42838"/>
                    <a:pt x="10012" y="37115"/>
                  </a:cubicBezTo>
                  <a:cubicBezTo>
                    <a:pt x="13249" y="28905"/>
                    <a:pt x="26893" y="21332"/>
                    <a:pt x="48283" y="15898"/>
                  </a:cubicBezTo>
                  <a:cubicBezTo>
                    <a:pt x="67302" y="11042"/>
                    <a:pt x="86900" y="9250"/>
                    <a:pt x="94820" y="9250"/>
                  </a:cubicBezTo>
                  <a:cubicBezTo>
                    <a:pt x="102740" y="9250"/>
                    <a:pt x="122338" y="11042"/>
                    <a:pt x="141300" y="15898"/>
                  </a:cubicBezTo>
                  <a:cubicBezTo>
                    <a:pt x="162690" y="21332"/>
                    <a:pt x="176334" y="28848"/>
                    <a:pt x="179571" y="37115"/>
                  </a:cubicBezTo>
                  <a:cubicBezTo>
                    <a:pt x="181884" y="42838"/>
                    <a:pt x="179051" y="49717"/>
                    <a:pt x="171246" y="57522"/>
                  </a:cubicBezTo>
                  <a:close/>
                </a:path>
              </a:pathLst>
            </a:custGeom>
            <a:solidFill>
              <a:schemeClr val="accent1"/>
            </a:solidFill>
            <a:ln w="5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05" name="Freeform: Shape 103">
              <a:extLst>
                <a:ext uri="{FF2B5EF4-FFF2-40B4-BE49-F238E27FC236}">
                  <a16:creationId xmlns="" xmlns:a16="http://schemas.microsoft.com/office/drawing/2014/main" id="{08BA91A8-0672-4CD4-A619-855394DE4645}"/>
                </a:ext>
              </a:extLst>
            </p:cNvPr>
            <p:cNvSpPr/>
            <p:nvPr/>
          </p:nvSpPr>
          <p:spPr>
            <a:xfrm>
              <a:off x="813643" y="3730033"/>
              <a:ext cx="78623" cy="84404"/>
            </a:xfrm>
            <a:custGeom>
              <a:avLst/>
              <a:gdLst>
                <a:gd name="connsiteX0" fmla="*/ 74229 w 78622"/>
                <a:gd name="connsiteY0" fmla="*/ 75270 h 84403"/>
                <a:gd name="connsiteX1" fmla="*/ 9250 w 78622"/>
                <a:gd name="connsiteY1" fmla="*/ 75270 h 84403"/>
                <a:gd name="connsiteX2" fmla="*/ 9250 w 78622"/>
                <a:gd name="connsiteY2" fmla="*/ 52088 h 84403"/>
                <a:gd name="connsiteX3" fmla="*/ 38386 w 78622"/>
                <a:gd name="connsiteY3" fmla="*/ 8672 h 84403"/>
                <a:gd name="connsiteX4" fmla="*/ 39311 w 78622"/>
                <a:gd name="connsiteY4" fmla="*/ 8209 h 84403"/>
                <a:gd name="connsiteX5" fmla="*/ 35033 w 78622"/>
                <a:gd name="connsiteY5" fmla="*/ 0 h 84403"/>
                <a:gd name="connsiteX6" fmla="*/ 0 w 78622"/>
                <a:gd name="connsiteY6" fmla="*/ 52088 h 84403"/>
                <a:gd name="connsiteX7" fmla="*/ 0 w 78622"/>
                <a:gd name="connsiteY7" fmla="*/ 79895 h 84403"/>
                <a:gd name="connsiteX8" fmla="*/ 4625 w 78622"/>
                <a:gd name="connsiteY8" fmla="*/ 84520 h 84403"/>
                <a:gd name="connsiteX9" fmla="*/ 79027 w 78622"/>
                <a:gd name="connsiteY9" fmla="*/ 84520 h 84403"/>
                <a:gd name="connsiteX10" fmla="*/ 74229 w 78622"/>
                <a:gd name="connsiteY10" fmla="*/ 75270 h 84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22" h="84403">
                  <a:moveTo>
                    <a:pt x="74229" y="75270"/>
                  </a:moveTo>
                  <a:lnTo>
                    <a:pt x="9250" y="75270"/>
                  </a:lnTo>
                  <a:lnTo>
                    <a:pt x="9250" y="52088"/>
                  </a:lnTo>
                  <a:cubicBezTo>
                    <a:pt x="9250" y="26131"/>
                    <a:pt x="25899" y="14915"/>
                    <a:pt x="38386" y="8672"/>
                  </a:cubicBezTo>
                  <a:lnTo>
                    <a:pt x="39311" y="8209"/>
                  </a:lnTo>
                  <a:lnTo>
                    <a:pt x="35033" y="0"/>
                  </a:lnTo>
                  <a:cubicBezTo>
                    <a:pt x="17864" y="8383"/>
                    <a:pt x="0" y="22142"/>
                    <a:pt x="0" y="52088"/>
                  </a:cubicBezTo>
                  <a:lnTo>
                    <a:pt x="0" y="79895"/>
                  </a:lnTo>
                  <a:cubicBezTo>
                    <a:pt x="0" y="82438"/>
                    <a:pt x="2081" y="84520"/>
                    <a:pt x="4625" y="84520"/>
                  </a:cubicBezTo>
                  <a:lnTo>
                    <a:pt x="79027" y="84520"/>
                  </a:lnTo>
                  <a:lnTo>
                    <a:pt x="74229" y="75270"/>
                  </a:lnTo>
                  <a:close/>
                </a:path>
              </a:pathLst>
            </a:custGeom>
            <a:grpFill/>
            <a:ln w="5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06" name="Freeform: Shape 104">
              <a:extLst>
                <a:ext uri="{FF2B5EF4-FFF2-40B4-BE49-F238E27FC236}">
                  <a16:creationId xmlns="" xmlns:a16="http://schemas.microsoft.com/office/drawing/2014/main" id="{4E7E8E6E-0B02-4239-9C77-3AA8B419F6BE}"/>
                </a:ext>
              </a:extLst>
            </p:cNvPr>
            <p:cNvSpPr/>
            <p:nvPr/>
          </p:nvSpPr>
          <p:spPr>
            <a:xfrm>
              <a:off x="857175" y="3626436"/>
              <a:ext cx="201182" cy="187886"/>
            </a:xfrm>
            <a:custGeom>
              <a:avLst/>
              <a:gdLst>
                <a:gd name="connsiteX0" fmla="*/ 139093 w 201181"/>
                <a:gd name="connsiteY0" fmla="*/ 93018 h 187885"/>
                <a:gd name="connsiteX1" fmla="*/ 139440 w 201181"/>
                <a:gd name="connsiteY1" fmla="*/ 91919 h 187885"/>
                <a:gd name="connsiteX2" fmla="*/ 139093 w 201181"/>
                <a:gd name="connsiteY2" fmla="*/ 93018 h 187885"/>
                <a:gd name="connsiteX3" fmla="*/ 129901 w 201181"/>
                <a:gd name="connsiteY3" fmla="*/ 89838 h 187885"/>
                <a:gd name="connsiteX4" fmla="*/ 129381 w 201181"/>
                <a:gd name="connsiteY4" fmla="*/ 89665 h 187885"/>
                <a:gd name="connsiteX5" fmla="*/ 125565 w 201181"/>
                <a:gd name="connsiteY5" fmla="*/ 79201 h 187885"/>
                <a:gd name="connsiteX6" fmla="*/ 126259 w 201181"/>
                <a:gd name="connsiteY6" fmla="*/ 78681 h 187885"/>
                <a:gd name="connsiteX7" fmla="*/ 158055 w 201181"/>
                <a:gd name="connsiteY7" fmla="*/ 15320 h 187885"/>
                <a:gd name="connsiteX8" fmla="*/ 158055 w 201181"/>
                <a:gd name="connsiteY8" fmla="*/ 2312 h 187885"/>
                <a:gd name="connsiteX9" fmla="*/ 148805 w 201181"/>
                <a:gd name="connsiteY9" fmla="*/ 8614 h 187885"/>
                <a:gd name="connsiteX10" fmla="*/ 148805 w 201181"/>
                <a:gd name="connsiteY10" fmla="*/ 15378 h 187885"/>
                <a:gd name="connsiteX11" fmla="*/ 118108 w 201181"/>
                <a:gd name="connsiteY11" fmla="*/ 73189 h 187885"/>
                <a:gd name="connsiteX12" fmla="*/ 117992 w 201181"/>
                <a:gd name="connsiteY12" fmla="*/ 73246 h 187885"/>
                <a:gd name="connsiteX13" fmla="*/ 117009 w 201181"/>
                <a:gd name="connsiteY13" fmla="*/ 73882 h 187885"/>
                <a:gd name="connsiteX14" fmla="*/ 116894 w 201181"/>
                <a:gd name="connsiteY14" fmla="*/ 73998 h 187885"/>
                <a:gd name="connsiteX15" fmla="*/ 79027 w 201181"/>
                <a:gd name="connsiteY15" fmla="*/ 85156 h 187885"/>
                <a:gd name="connsiteX16" fmla="*/ 41161 w 201181"/>
                <a:gd name="connsiteY16" fmla="*/ 73940 h 187885"/>
                <a:gd name="connsiteX17" fmla="*/ 41046 w 201181"/>
                <a:gd name="connsiteY17" fmla="*/ 73825 h 187885"/>
                <a:gd name="connsiteX18" fmla="*/ 40063 w 201181"/>
                <a:gd name="connsiteY18" fmla="*/ 73189 h 187885"/>
                <a:gd name="connsiteX19" fmla="*/ 39947 w 201181"/>
                <a:gd name="connsiteY19" fmla="*/ 73131 h 187885"/>
                <a:gd name="connsiteX20" fmla="*/ 9250 w 201181"/>
                <a:gd name="connsiteY20" fmla="*/ 15320 h 187885"/>
                <a:gd name="connsiteX21" fmla="*/ 9250 w 201181"/>
                <a:gd name="connsiteY21" fmla="*/ 8325 h 187885"/>
                <a:gd name="connsiteX22" fmla="*/ 0 w 201181"/>
                <a:gd name="connsiteY22" fmla="*/ 0 h 187885"/>
                <a:gd name="connsiteX23" fmla="*/ 0 w 201181"/>
                <a:gd name="connsiteY23" fmla="*/ 15378 h 187885"/>
                <a:gd name="connsiteX24" fmla="*/ 31796 w 201181"/>
                <a:gd name="connsiteY24" fmla="*/ 78738 h 187885"/>
                <a:gd name="connsiteX25" fmla="*/ 32490 w 201181"/>
                <a:gd name="connsiteY25" fmla="*/ 79259 h 187885"/>
                <a:gd name="connsiteX26" fmla="*/ 28674 w 201181"/>
                <a:gd name="connsiteY26" fmla="*/ 89723 h 187885"/>
                <a:gd name="connsiteX27" fmla="*/ 28154 w 201181"/>
                <a:gd name="connsiteY27" fmla="*/ 89896 h 187885"/>
                <a:gd name="connsiteX28" fmla="*/ 31507 w 201181"/>
                <a:gd name="connsiteY28" fmla="*/ 99204 h 187885"/>
                <a:gd name="connsiteX29" fmla="*/ 59198 w 201181"/>
                <a:gd name="connsiteY29" fmla="*/ 128051 h 187885"/>
                <a:gd name="connsiteX30" fmla="*/ 63303 w 201181"/>
                <a:gd name="connsiteY30" fmla="*/ 129439 h 187885"/>
                <a:gd name="connsiteX31" fmla="*/ 66714 w 201181"/>
                <a:gd name="connsiteY31" fmla="*/ 126837 h 187885"/>
                <a:gd name="connsiteX32" fmla="*/ 79027 w 201181"/>
                <a:gd name="connsiteY32" fmla="*/ 100707 h 187885"/>
                <a:gd name="connsiteX33" fmla="*/ 91341 w 201181"/>
                <a:gd name="connsiteY33" fmla="*/ 126837 h 187885"/>
                <a:gd name="connsiteX34" fmla="*/ 94752 w 201181"/>
                <a:gd name="connsiteY34" fmla="*/ 129439 h 187885"/>
                <a:gd name="connsiteX35" fmla="*/ 98857 w 201181"/>
                <a:gd name="connsiteY35" fmla="*/ 128051 h 187885"/>
                <a:gd name="connsiteX36" fmla="*/ 127068 w 201181"/>
                <a:gd name="connsiteY36" fmla="*/ 98683 h 187885"/>
                <a:gd name="connsiteX37" fmla="*/ 127762 w 201181"/>
                <a:gd name="connsiteY37" fmla="*/ 98915 h 187885"/>
                <a:gd name="connsiteX38" fmla="*/ 136145 w 201181"/>
                <a:gd name="connsiteY38" fmla="*/ 101805 h 187885"/>
                <a:gd name="connsiteX39" fmla="*/ 192337 w 201181"/>
                <a:gd name="connsiteY39" fmla="*/ 155685 h 187885"/>
                <a:gd name="connsiteX40" fmla="*/ 192337 w 201181"/>
                <a:gd name="connsiteY40" fmla="*/ 178867 h 187885"/>
                <a:gd name="connsiteX41" fmla="*/ 73189 w 201181"/>
                <a:gd name="connsiteY41" fmla="*/ 178867 h 187885"/>
                <a:gd name="connsiteX42" fmla="*/ 78045 w 201181"/>
                <a:gd name="connsiteY42" fmla="*/ 188117 h 187885"/>
                <a:gd name="connsiteX43" fmla="*/ 196962 w 201181"/>
                <a:gd name="connsiteY43" fmla="*/ 188117 h 187885"/>
                <a:gd name="connsiteX44" fmla="*/ 201586 w 201181"/>
                <a:gd name="connsiteY44" fmla="*/ 183492 h 187885"/>
                <a:gd name="connsiteX45" fmla="*/ 201586 w 201181"/>
                <a:gd name="connsiteY45" fmla="*/ 155685 h 187885"/>
                <a:gd name="connsiteX46" fmla="*/ 139093 w 201181"/>
                <a:gd name="connsiteY46" fmla="*/ 93018 h 187885"/>
                <a:gd name="connsiteX47" fmla="*/ 61222 w 201181"/>
                <a:gd name="connsiteY47" fmla="*/ 116778 h 187885"/>
                <a:gd name="connsiteX48" fmla="*/ 37577 w 201181"/>
                <a:gd name="connsiteY48" fmla="*/ 92208 h 187885"/>
                <a:gd name="connsiteX49" fmla="*/ 40410 w 201181"/>
                <a:gd name="connsiteY49" fmla="*/ 84404 h 187885"/>
                <a:gd name="connsiteX50" fmla="*/ 41566 w 201181"/>
                <a:gd name="connsiteY50" fmla="*/ 85040 h 187885"/>
                <a:gd name="connsiteX51" fmla="*/ 70240 w 201181"/>
                <a:gd name="connsiteY51" fmla="*/ 94001 h 187885"/>
                <a:gd name="connsiteX52" fmla="*/ 71859 w 201181"/>
                <a:gd name="connsiteY52" fmla="*/ 94174 h 187885"/>
                <a:gd name="connsiteX53" fmla="*/ 61222 w 201181"/>
                <a:gd name="connsiteY53" fmla="*/ 116778 h 187885"/>
                <a:gd name="connsiteX54" fmla="*/ 96833 w 201181"/>
                <a:gd name="connsiteY54" fmla="*/ 116778 h 187885"/>
                <a:gd name="connsiteX55" fmla="*/ 86196 w 201181"/>
                <a:gd name="connsiteY55" fmla="*/ 94116 h 187885"/>
                <a:gd name="connsiteX56" fmla="*/ 87815 w 201181"/>
                <a:gd name="connsiteY56" fmla="*/ 93943 h 187885"/>
                <a:gd name="connsiteX57" fmla="*/ 116489 w 201181"/>
                <a:gd name="connsiteY57" fmla="*/ 84982 h 187885"/>
                <a:gd name="connsiteX58" fmla="*/ 117645 w 201181"/>
                <a:gd name="connsiteY58" fmla="*/ 84346 h 187885"/>
                <a:gd name="connsiteX59" fmla="*/ 120478 w 201181"/>
                <a:gd name="connsiteY59" fmla="*/ 92151 h 187885"/>
                <a:gd name="connsiteX60" fmla="*/ 96833 w 201181"/>
                <a:gd name="connsiteY60" fmla="*/ 116778 h 187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201181" h="187885">
                  <a:moveTo>
                    <a:pt x="139093" y="93018"/>
                  </a:moveTo>
                  <a:lnTo>
                    <a:pt x="139440" y="91919"/>
                  </a:lnTo>
                  <a:lnTo>
                    <a:pt x="139093" y="93018"/>
                  </a:lnTo>
                  <a:cubicBezTo>
                    <a:pt x="135624" y="91862"/>
                    <a:pt x="132734" y="90879"/>
                    <a:pt x="129901" y="89838"/>
                  </a:cubicBezTo>
                  <a:lnTo>
                    <a:pt x="129381" y="89665"/>
                  </a:lnTo>
                  <a:lnTo>
                    <a:pt x="125565" y="79201"/>
                  </a:lnTo>
                  <a:lnTo>
                    <a:pt x="126259" y="78681"/>
                  </a:lnTo>
                  <a:cubicBezTo>
                    <a:pt x="146146" y="63765"/>
                    <a:pt x="158055" y="40121"/>
                    <a:pt x="158055" y="15320"/>
                  </a:cubicBezTo>
                  <a:lnTo>
                    <a:pt x="158055" y="2312"/>
                  </a:lnTo>
                  <a:cubicBezTo>
                    <a:pt x="156205" y="4278"/>
                    <a:pt x="153083" y="6937"/>
                    <a:pt x="148805" y="8614"/>
                  </a:cubicBezTo>
                  <a:lnTo>
                    <a:pt x="148805" y="15378"/>
                  </a:lnTo>
                  <a:cubicBezTo>
                    <a:pt x="148805" y="38502"/>
                    <a:pt x="137301" y="60123"/>
                    <a:pt x="118108" y="73189"/>
                  </a:cubicBezTo>
                  <a:lnTo>
                    <a:pt x="117992" y="73246"/>
                  </a:lnTo>
                  <a:cubicBezTo>
                    <a:pt x="117645" y="73420"/>
                    <a:pt x="117298" y="73651"/>
                    <a:pt x="117009" y="73882"/>
                  </a:cubicBezTo>
                  <a:lnTo>
                    <a:pt x="116894" y="73998"/>
                  </a:lnTo>
                  <a:cubicBezTo>
                    <a:pt x="105620" y="81340"/>
                    <a:pt x="92497" y="85156"/>
                    <a:pt x="79027" y="85156"/>
                  </a:cubicBezTo>
                  <a:cubicBezTo>
                    <a:pt x="65558" y="85156"/>
                    <a:pt x="52434" y="81282"/>
                    <a:pt x="41161" y="73940"/>
                  </a:cubicBezTo>
                  <a:lnTo>
                    <a:pt x="41046" y="73825"/>
                  </a:lnTo>
                  <a:cubicBezTo>
                    <a:pt x="40757" y="73536"/>
                    <a:pt x="40410" y="73362"/>
                    <a:pt x="40063" y="73189"/>
                  </a:cubicBezTo>
                  <a:lnTo>
                    <a:pt x="39947" y="73131"/>
                  </a:lnTo>
                  <a:cubicBezTo>
                    <a:pt x="20696" y="60066"/>
                    <a:pt x="9250" y="38502"/>
                    <a:pt x="9250" y="15320"/>
                  </a:cubicBezTo>
                  <a:lnTo>
                    <a:pt x="9250" y="8325"/>
                  </a:lnTo>
                  <a:cubicBezTo>
                    <a:pt x="8094" y="7342"/>
                    <a:pt x="4625" y="4394"/>
                    <a:pt x="0" y="0"/>
                  </a:cubicBezTo>
                  <a:lnTo>
                    <a:pt x="0" y="15378"/>
                  </a:lnTo>
                  <a:cubicBezTo>
                    <a:pt x="0" y="40121"/>
                    <a:pt x="11909" y="63823"/>
                    <a:pt x="31796" y="78738"/>
                  </a:cubicBezTo>
                  <a:lnTo>
                    <a:pt x="32490" y="79259"/>
                  </a:lnTo>
                  <a:lnTo>
                    <a:pt x="28674" y="89723"/>
                  </a:lnTo>
                  <a:lnTo>
                    <a:pt x="28154" y="89896"/>
                  </a:lnTo>
                  <a:lnTo>
                    <a:pt x="31507" y="99204"/>
                  </a:lnTo>
                  <a:lnTo>
                    <a:pt x="59198" y="128051"/>
                  </a:lnTo>
                  <a:cubicBezTo>
                    <a:pt x="60239" y="129150"/>
                    <a:pt x="61800" y="129670"/>
                    <a:pt x="63303" y="129439"/>
                  </a:cubicBezTo>
                  <a:cubicBezTo>
                    <a:pt x="64806" y="129207"/>
                    <a:pt x="66078" y="128225"/>
                    <a:pt x="66714" y="126837"/>
                  </a:cubicBezTo>
                  <a:lnTo>
                    <a:pt x="79027" y="100707"/>
                  </a:lnTo>
                  <a:lnTo>
                    <a:pt x="91341" y="126837"/>
                  </a:lnTo>
                  <a:cubicBezTo>
                    <a:pt x="91977" y="128225"/>
                    <a:pt x="93249" y="129207"/>
                    <a:pt x="94752" y="129439"/>
                  </a:cubicBezTo>
                  <a:cubicBezTo>
                    <a:pt x="96197" y="129670"/>
                    <a:pt x="97816" y="129150"/>
                    <a:pt x="98857" y="128051"/>
                  </a:cubicBezTo>
                  <a:lnTo>
                    <a:pt x="127068" y="98683"/>
                  </a:lnTo>
                  <a:lnTo>
                    <a:pt x="127762" y="98915"/>
                  </a:lnTo>
                  <a:cubicBezTo>
                    <a:pt x="130421" y="99839"/>
                    <a:pt x="133023" y="100707"/>
                    <a:pt x="136145" y="101805"/>
                  </a:cubicBezTo>
                  <a:cubicBezTo>
                    <a:pt x="163778" y="111113"/>
                    <a:pt x="192337" y="120767"/>
                    <a:pt x="192337" y="155685"/>
                  </a:cubicBezTo>
                  <a:lnTo>
                    <a:pt x="192337" y="178867"/>
                  </a:lnTo>
                  <a:lnTo>
                    <a:pt x="73189" y="178867"/>
                  </a:lnTo>
                  <a:lnTo>
                    <a:pt x="78045" y="188117"/>
                  </a:lnTo>
                  <a:lnTo>
                    <a:pt x="196962" y="188117"/>
                  </a:lnTo>
                  <a:cubicBezTo>
                    <a:pt x="199505" y="188117"/>
                    <a:pt x="201586" y="186036"/>
                    <a:pt x="201586" y="183492"/>
                  </a:cubicBezTo>
                  <a:lnTo>
                    <a:pt x="201586" y="155685"/>
                  </a:lnTo>
                  <a:cubicBezTo>
                    <a:pt x="201586" y="114119"/>
                    <a:pt x="166958" y="102441"/>
                    <a:pt x="139093" y="93018"/>
                  </a:cubicBezTo>
                  <a:close/>
                  <a:moveTo>
                    <a:pt x="61222" y="116778"/>
                  </a:moveTo>
                  <a:lnTo>
                    <a:pt x="37577" y="92208"/>
                  </a:lnTo>
                  <a:lnTo>
                    <a:pt x="40410" y="84404"/>
                  </a:lnTo>
                  <a:lnTo>
                    <a:pt x="41566" y="85040"/>
                  </a:lnTo>
                  <a:cubicBezTo>
                    <a:pt x="50469" y="89838"/>
                    <a:pt x="60123" y="92844"/>
                    <a:pt x="70240" y="94001"/>
                  </a:cubicBezTo>
                  <a:lnTo>
                    <a:pt x="71859" y="94174"/>
                  </a:lnTo>
                  <a:lnTo>
                    <a:pt x="61222" y="116778"/>
                  </a:lnTo>
                  <a:close/>
                  <a:moveTo>
                    <a:pt x="96833" y="116778"/>
                  </a:moveTo>
                  <a:lnTo>
                    <a:pt x="86196" y="94116"/>
                  </a:lnTo>
                  <a:lnTo>
                    <a:pt x="87815" y="93943"/>
                  </a:lnTo>
                  <a:cubicBezTo>
                    <a:pt x="97932" y="92844"/>
                    <a:pt x="107528" y="89838"/>
                    <a:pt x="116489" y="84982"/>
                  </a:cubicBezTo>
                  <a:lnTo>
                    <a:pt x="117645" y="84346"/>
                  </a:lnTo>
                  <a:lnTo>
                    <a:pt x="120478" y="92151"/>
                  </a:lnTo>
                  <a:lnTo>
                    <a:pt x="96833" y="116778"/>
                  </a:lnTo>
                  <a:close/>
                </a:path>
              </a:pathLst>
            </a:custGeom>
            <a:grpFill/>
            <a:ln w="5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07" name="Freeform: Shape 105">
              <a:extLst>
                <a:ext uri="{FF2B5EF4-FFF2-40B4-BE49-F238E27FC236}">
                  <a16:creationId xmlns="" xmlns:a16="http://schemas.microsoft.com/office/drawing/2014/main" id="{0EFEA56A-783D-4A30-A019-A04FCF20AE9E}"/>
                </a:ext>
              </a:extLst>
            </p:cNvPr>
            <p:cNvSpPr/>
            <p:nvPr/>
          </p:nvSpPr>
          <p:spPr>
            <a:xfrm>
              <a:off x="848619" y="3716332"/>
              <a:ext cx="86138" cy="97700"/>
            </a:xfrm>
            <a:custGeom>
              <a:avLst/>
              <a:gdLst>
                <a:gd name="connsiteX0" fmla="*/ 86543 w 86138"/>
                <a:gd name="connsiteY0" fmla="*/ 98221 h 97700"/>
                <a:gd name="connsiteX1" fmla="*/ 81687 w 86138"/>
                <a:gd name="connsiteY1" fmla="*/ 88971 h 97700"/>
                <a:gd name="connsiteX2" fmla="*/ 81398 w 86138"/>
                <a:gd name="connsiteY2" fmla="*/ 88971 h 97700"/>
                <a:gd name="connsiteX3" fmla="*/ 81051 w 86138"/>
                <a:gd name="connsiteY3" fmla="*/ 88335 h 97700"/>
                <a:gd name="connsiteX4" fmla="*/ 40005 w 86138"/>
                <a:gd name="connsiteY4" fmla="*/ 9308 h 97700"/>
                <a:gd name="connsiteX5" fmla="*/ 36652 w 86138"/>
                <a:gd name="connsiteY5" fmla="*/ 0 h 97700"/>
                <a:gd name="connsiteX6" fmla="*/ 27460 w 86138"/>
                <a:gd name="connsiteY6" fmla="*/ 3180 h 97700"/>
                <a:gd name="connsiteX7" fmla="*/ 4972 w 86138"/>
                <a:gd name="connsiteY7" fmla="*/ 11504 h 97700"/>
                <a:gd name="connsiteX8" fmla="*/ 4914 w 86138"/>
                <a:gd name="connsiteY8" fmla="*/ 11504 h 97700"/>
                <a:gd name="connsiteX9" fmla="*/ 4394 w 86138"/>
                <a:gd name="connsiteY9" fmla="*/ 11736 h 97700"/>
                <a:gd name="connsiteX10" fmla="*/ 4336 w 86138"/>
                <a:gd name="connsiteY10" fmla="*/ 11793 h 97700"/>
                <a:gd name="connsiteX11" fmla="*/ 0 w 86138"/>
                <a:gd name="connsiteY11" fmla="*/ 13817 h 97700"/>
                <a:gd name="connsiteX12" fmla="*/ 4336 w 86138"/>
                <a:gd name="connsiteY12" fmla="*/ 21910 h 97700"/>
                <a:gd name="connsiteX13" fmla="*/ 4451 w 86138"/>
                <a:gd name="connsiteY13" fmla="*/ 21853 h 97700"/>
                <a:gd name="connsiteX14" fmla="*/ 4972 w 86138"/>
                <a:gd name="connsiteY14" fmla="*/ 22835 h 97700"/>
                <a:gd name="connsiteX15" fmla="*/ 39311 w 86138"/>
                <a:gd name="connsiteY15" fmla="*/ 88971 h 97700"/>
                <a:gd name="connsiteX16" fmla="*/ 39254 w 86138"/>
                <a:gd name="connsiteY16" fmla="*/ 88971 h 97700"/>
                <a:gd name="connsiteX17" fmla="*/ 44052 w 86138"/>
                <a:gd name="connsiteY17" fmla="*/ 98221 h 97700"/>
                <a:gd name="connsiteX18" fmla="*/ 78681 w 86138"/>
                <a:gd name="connsiteY18" fmla="*/ 98221 h 97700"/>
                <a:gd name="connsiteX19" fmla="*/ 86543 w 86138"/>
                <a:gd name="connsiteY19" fmla="*/ 98221 h 97700"/>
                <a:gd name="connsiteX20" fmla="*/ 49717 w 86138"/>
                <a:gd name="connsiteY20" fmla="*/ 88971 h 97700"/>
                <a:gd name="connsiteX21" fmla="*/ 49370 w 86138"/>
                <a:gd name="connsiteY21" fmla="*/ 88335 h 97700"/>
                <a:gd name="connsiteX22" fmla="*/ 12950 w 86138"/>
                <a:gd name="connsiteY22" fmla="*/ 18153 h 97700"/>
                <a:gd name="connsiteX23" fmla="*/ 14164 w 86138"/>
                <a:gd name="connsiteY23" fmla="*/ 17690 h 97700"/>
                <a:gd name="connsiteX24" fmla="*/ 29946 w 86138"/>
                <a:gd name="connsiteY24" fmla="*/ 12082 h 97700"/>
                <a:gd name="connsiteX25" fmla="*/ 30871 w 86138"/>
                <a:gd name="connsiteY25" fmla="*/ 11793 h 97700"/>
                <a:gd name="connsiteX26" fmla="*/ 70992 w 86138"/>
                <a:gd name="connsiteY26" fmla="*/ 88971 h 97700"/>
                <a:gd name="connsiteX27" fmla="*/ 49717 w 86138"/>
                <a:gd name="connsiteY27" fmla="*/ 88971 h 9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6138" h="97700">
                  <a:moveTo>
                    <a:pt x="86543" y="98221"/>
                  </a:moveTo>
                  <a:lnTo>
                    <a:pt x="81687" y="88971"/>
                  </a:lnTo>
                  <a:lnTo>
                    <a:pt x="81398" y="88971"/>
                  </a:lnTo>
                  <a:lnTo>
                    <a:pt x="81051" y="88335"/>
                  </a:lnTo>
                  <a:lnTo>
                    <a:pt x="40005" y="9308"/>
                  </a:lnTo>
                  <a:lnTo>
                    <a:pt x="36652" y="0"/>
                  </a:lnTo>
                  <a:cubicBezTo>
                    <a:pt x="33704" y="1041"/>
                    <a:pt x="30755" y="2023"/>
                    <a:pt x="27460" y="3180"/>
                  </a:cubicBezTo>
                  <a:cubicBezTo>
                    <a:pt x="20060" y="5665"/>
                    <a:pt x="12429" y="8267"/>
                    <a:pt x="4972" y="11504"/>
                  </a:cubicBezTo>
                  <a:lnTo>
                    <a:pt x="4914" y="11504"/>
                  </a:lnTo>
                  <a:cubicBezTo>
                    <a:pt x="4740" y="11562"/>
                    <a:pt x="4567" y="11620"/>
                    <a:pt x="4394" y="11736"/>
                  </a:cubicBezTo>
                  <a:lnTo>
                    <a:pt x="4336" y="11793"/>
                  </a:lnTo>
                  <a:cubicBezTo>
                    <a:pt x="2891" y="12429"/>
                    <a:pt x="1445" y="13065"/>
                    <a:pt x="0" y="13817"/>
                  </a:cubicBezTo>
                  <a:lnTo>
                    <a:pt x="4336" y="21910"/>
                  </a:lnTo>
                  <a:lnTo>
                    <a:pt x="4451" y="21853"/>
                  </a:lnTo>
                  <a:lnTo>
                    <a:pt x="4972" y="22835"/>
                  </a:lnTo>
                  <a:lnTo>
                    <a:pt x="39311" y="88971"/>
                  </a:lnTo>
                  <a:lnTo>
                    <a:pt x="39254" y="88971"/>
                  </a:lnTo>
                  <a:lnTo>
                    <a:pt x="44052" y="98221"/>
                  </a:lnTo>
                  <a:lnTo>
                    <a:pt x="78681" y="98221"/>
                  </a:lnTo>
                  <a:lnTo>
                    <a:pt x="86543" y="98221"/>
                  </a:lnTo>
                  <a:close/>
                  <a:moveTo>
                    <a:pt x="49717" y="88971"/>
                  </a:moveTo>
                  <a:lnTo>
                    <a:pt x="49370" y="88335"/>
                  </a:lnTo>
                  <a:lnTo>
                    <a:pt x="12950" y="18153"/>
                  </a:lnTo>
                  <a:lnTo>
                    <a:pt x="14164" y="17690"/>
                  </a:lnTo>
                  <a:cubicBezTo>
                    <a:pt x="19482" y="15609"/>
                    <a:pt x="25032" y="13759"/>
                    <a:pt x="29946" y="12082"/>
                  </a:cubicBezTo>
                  <a:lnTo>
                    <a:pt x="30871" y="11793"/>
                  </a:lnTo>
                  <a:lnTo>
                    <a:pt x="70992" y="88971"/>
                  </a:lnTo>
                  <a:lnTo>
                    <a:pt x="49717" y="88971"/>
                  </a:lnTo>
                  <a:close/>
                </a:path>
              </a:pathLst>
            </a:custGeom>
            <a:solidFill>
              <a:schemeClr val="accent1"/>
            </a:solidFill>
            <a:ln w="5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08" name="Рисунок 8">
            <a:extLst>
              <a:ext uri="{FF2B5EF4-FFF2-40B4-BE49-F238E27FC236}">
                <a16:creationId xmlns="" xmlns:a16="http://schemas.microsoft.com/office/drawing/2014/main" id="{5235B0DF-307A-491A-9A25-FAA5CF22AF44}"/>
              </a:ext>
            </a:extLst>
          </p:cNvPr>
          <p:cNvGrpSpPr/>
          <p:nvPr/>
        </p:nvGrpSpPr>
        <p:grpSpPr>
          <a:xfrm>
            <a:off x="9054081" y="1303361"/>
            <a:ext cx="297186" cy="297186"/>
            <a:chOff x="2752684" y="2571946"/>
            <a:chExt cx="420009" cy="420009"/>
          </a:xfrm>
          <a:solidFill>
            <a:schemeClr val="accent1">
              <a:lumMod val="40000"/>
              <a:lumOff val="60000"/>
            </a:schemeClr>
          </a:solidFill>
          <a:effectLst/>
        </p:grpSpPr>
        <p:sp>
          <p:nvSpPr>
            <p:cNvPr id="109" name="Полилиния: фигура 57">
              <a:extLst>
                <a:ext uri="{FF2B5EF4-FFF2-40B4-BE49-F238E27FC236}">
                  <a16:creationId xmlns="" xmlns:a16="http://schemas.microsoft.com/office/drawing/2014/main" id="{154C5723-8A1E-43A9-8AB3-B3D0158D2EE8}"/>
                </a:ext>
              </a:extLst>
            </p:cNvPr>
            <p:cNvSpPr/>
            <p:nvPr/>
          </p:nvSpPr>
          <p:spPr>
            <a:xfrm>
              <a:off x="2781794" y="2675909"/>
              <a:ext cx="365948" cy="232876"/>
            </a:xfrm>
            <a:custGeom>
              <a:avLst/>
              <a:gdLst>
                <a:gd name="connsiteX0" fmla="*/ 359711 w 365948"/>
                <a:gd name="connsiteY0" fmla="*/ 116438 h 232876"/>
                <a:gd name="connsiteX1" fmla="*/ 328522 w 365948"/>
                <a:gd name="connsiteY1" fmla="*/ 116438 h 232876"/>
                <a:gd name="connsiteX2" fmla="*/ 328522 w 365948"/>
                <a:gd name="connsiteY2" fmla="*/ 64457 h 232876"/>
                <a:gd name="connsiteX3" fmla="*/ 322284 w 365948"/>
                <a:gd name="connsiteY3" fmla="*/ 58219 h 232876"/>
                <a:gd name="connsiteX4" fmla="*/ 224559 w 365948"/>
                <a:gd name="connsiteY4" fmla="*/ 58219 h 232876"/>
                <a:gd name="connsiteX5" fmla="*/ 224559 w 365948"/>
                <a:gd name="connsiteY5" fmla="*/ 6238 h 232876"/>
                <a:gd name="connsiteX6" fmla="*/ 218322 w 365948"/>
                <a:gd name="connsiteY6" fmla="*/ 0 h 232876"/>
                <a:gd name="connsiteX7" fmla="*/ 6238 w 365948"/>
                <a:gd name="connsiteY7" fmla="*/ 0 h 232876"/>
                <a:gd name="connsiteX8" fmla="*/ 0 w 365948"/>
                <a:gd name="connsiteY8" fmla="*/ 6238 h 232876"/>
                <a:gd name="connsiteX9" fmla="*/ 0 w 365948"/>
                <a:gd name="connsiteY9" fmla="*/ 201687 h 232876"/>
                <a:gd name="connsiteX10" fmla="*/ 6238 w 365948"/>
                <a:gd name="connsiteY10" fmla="*/ 207925 h 232876"/>
                <a:gd name="connsiteX11" fmla="*/ 53728 w 365948"/>
                <a:gd name="connsiteY11" fmla="*/ 207925 h 232876"/>
                <a:gd name="connsiteX12" fmla="*/ 88799 w 365948"/>
                <a:gd name="connsiteY12" fmla="*/ 236105 h 232876"/>
                <a:gd name="connsiteX13" fmla="*/ 116979 w 365948"/>
                <a:gd name="connsiteY13" fmla="*/ 207925 h 232876"/>
                <a:gd name="connsiteX14" fmla="*/ 256497 w 365948"/>
                <a:gd name="connsiteY14" fmla="*/ 207925 h 232876"/>
                <a:gd name="connsiteX15" fmla="*/ 291611 w 365948"/>
                <a:gd name="connsiteY15" fmla="*/ 236144 h 232876"/>
                <a:gd name="connsiteX16" fmla="*/ 319831 w 365948"/>
                <a:gd name="connsiteY16" fmla="*/ 207925 h 232876"/>
                <a:gd name="connsiteX17" fmla="*/ 359711 w 365948"/>
                <a:gd name="connsiteY17" fmla="*/ 207925 h 232876"/>
                <a:gd name="connsiteX18" fmla="*/ 365948 w 365948"/>
                <a:gd name="connsiteY18" fmla="*/ 201687 h 232876"/>
                <a:gd name="connsiteX19" fmla="*/ 365948 w 365948"/>
                <a:gd name="connsiteY19" fmla="*/ 122676 h 232876"/>
                <a:gd name="connsiteX20" fmla="*/ 359711 w 365948"/>
                <a:gd name="connsiteY20" fmla="*/ 116438 h 232876"/>
                <a:gd name="connsiteX21" fmla="*/ 85249 w 365948"/>
                <a:gd name="connsiteY21" fmla="*/ 223894 h 232876"/>
                <a:gd name="connsiteX22" fmla="*/ 65788 w 365948"/>
                <a:gd name="connsiteY22" fmla="*/ 204598 h 232876"/>
                <a:gd name="connsiteX23" fmla="*/ 85083 w 365948"/>
                <a:gd name="connsiteY23" fmla="*/ 185137 h 232876"/>
                <a:gd name="connsiteX24" fmla="*/ 104545 w 365948"/>
                <a:gd name="connsiteY24" fmla="*/ 204432 h 232876"/>
                <a:gd name="connsiteX25" fmla="*/ 104545 w 365948"/>
                <a:gd name="connsiteY25" fmla="*/ 204557 h 232876"/>
                <a:gd name="connsiteX26" fmla="*/ 85416 w 365948"/>
                <a:gd name="connsiteY26" fmla="*/ 223894 h 232876"/>
                <a:gd name="connsiteX27" fmla="*/ 85249 w 365948"/>
                <a:gd name="connsiteY27" fmla="*/ 172703 h 232876"/>
                <a:gd name="connsiteX28" fmla="*/ 54892 w 365948"/>
                <a:gd name="connsiteY28" fmla="*/ 195450 h 232876"/>
                <a:gd name="connsiteX29" fmla="*/ 12476 w 365948"/>
                <a:gd name="connsiteY29" fmla="*/ 195450 h 232876"/>
                <a:gd name="connsiteX30" fmla="*/ 12476 w 365948"/>
                <a:gd name="connsiteY30" fmla="*/ 12476 h 232876"/>
                <a:gd name="connsiteX31" fmla="*/ 212084 w 365948"/>
                <a:gd name="connsiteY31" fmla="*/ 12476 h 232876"/>
                <a:gd name="connsiteX32" fmla="*/ 212084 w 365948"/>
                <a:gd name="connsiteY32" fmla="*/ 195450 h 232876"/>
                <a:gd name="connsiteX33" fmla="*/ 115856 w 365948"/>
                <a:gd name="connsiteY33" fmla="*/ 195450 h 232876"/>
                <a:gd name="connsiteX34" fmla="*/ 85416 w 365948"/>
                <a:gd name="connsiteY34" fmla="*/ 172703 h 232876"/>
                <a:gd name="connsiteX35" fmla="*/ 288143 w 365948"/>
                <a:gd name="connsiteY35" fmla="*/ 223894 h 232876"/>
                <a:gd name="connsiteX36" fmla="*/ 268764 w 365948"/>
                <a:gd name="connsiteY36" fmla="*/ 204515 h 232876"/>
                <a:gd name="connsiteX37" fmla="*/ 288143 w 365948"/>
                <a:gd name="connsiteY37" fmla="*/ 185137 h 232876"/>
                <a:gd name="connsiteX38" fmla="*/ 307521 w 365948"/>
                <a:gd name="connsiteY38" fmla="*/ 204515 h 232876"/>
                <a:gd name="connsiteX39" fmla="*/ 307521 w 365948"/>
                <a:gd name="connsiteY39" fmla="*/ 204557 h 232876"/>
                <a:gd name="connsiteX40" fmla="*/ 288143 w 365948"/>
                <a:gd name="connsiteY40" fmla="*/ 223894 h 232876"/>
                <a:gd name="connsiteX41" fmla="*/ 353473 w 365948"/>
                <a:gd name="connsiteY41" fmla="*/ 195450 h 232876"/>
                <a:gd name="connsiteX42" fmla="*/ 318666 w 365948"/>
                <a:gd name="connsiteY42" fmla="*/ 195450 h 232876"/>
                <a:gd name="connsiteX43" fmla="*/ 278936 w 365948"/>
                <a:gd name="connsiteY43" fmla="*/ 174341 h 232876"/>
                <a:gd name="connsiteX44" fmla="*/ 257827 w 365948"/>
                <a:gd name="connsiteY44" fmla="*/ 195450 h 232876"/>
                <a:gd name="connsiteX45" fmla="*/ 224559 w 365948"/>
                <a:gd name="connsiteY45" fmla="*/ 195450 h 232876"/>
                <a:gd name="connsiteX46" fmla="*/ 224559 w 365948"/>
                <a:gd name="connsiteY46" fmla="*/ 70695 h 232876"/>
                <a:gd name="connsiteX47" fmla="*/ 316046 w 365948"/>
                <a:gd name="connsiteY47" fmla="*/ 70695 h 232876"/>
                <a:gd name="connsiteX48" fmla="*/ 316046 w 365948"/>
                <a:gd name="connsiteY48" fmla="*/ 122676 h 232876"/>
                <a:gd name="connsiteX49" fmla="*/ 322284 w 365948"/>
                <a:gd name="connsiteY49" fmla="*/ 128914 h 232876"/>
                <a:gd name="connsiteX50" fmla="*/ 353473 w 365948"/>
                <a:gd name="connsiteY50" fmla="*/ 128914 h 232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365948" h="232876">
                  <a:moveTo>
                    <a:pt x="359711" y="116438"/>
                  </a:moveTo>
                  <a:lnTo>
                    <a:pt x="328522" y="116438"/>
                  </a:lnTo>
                  <a:lnTo>
                    <a:pt x="328522" y="64457"/>
                  </a:lnTo>
                  <a:cubicBezTo>
                    <a:pt x="328522" y="61012"/>
                    <a:pt x="325729" y="58219"/>
                    <a:pt x="322284" y="58219"/>
                  </a:cubicBezTo>
                  <a:lnTo>
                    <a:pt x="224559" y="58219"/>
                  </a:lnTo>
                  <a:lnTo>
                    <a:pt x="224559" y="6238"/>
                  </a:lnTo>
                  <a:cubicBezTo>
                    <a:pt x="224559" y="2793"/>
                    <a:pt x="221766" y="0"/>
                    <a:pt x="218322" y="0"/>
                  </a:cubicBezTo>
                  <a:lnTo>
                    <a:pt x="6238" y="0"/>
                  </a:lnTo>
                  <a:cubicBezTo>
                    <a:pt x="2793" y="0"/>
                    <a:pt x="0" y="2793"/>
                    <a:pt x="0" y="6238"/>
                  </a:cubicBezTo>
                  <a:lnTo>
                    <a:pt x="0" y="201687"/>
                  </a:lnTo>
                  <a:cubicBezTo>
                    <a:pt x="0" y="205132"/>
                    <a:pt x="2793" y="207925"/>
                    <a:pt x="6238" y="207925"/>
                  </a:cubicBezTo>
                  <a:lnTo>
                    <a:pt x="53728" y="207925"/>
                  </a:lnTo>
                  <a:cubicBezTo>
                    <a:pt x="55631" y="225391"/>
                    <a:pt x="71333" y="238008"/>
                    <a:pt x="88799" y="236105"/>
                  </a:cubicBezTo>
                  <a:cubicBezTo>
                    <a:pt x="103641" y="234488"/>
                    <a:pt x="115362" y="222767"/>
                    <a:pt x="116979" y="207925"/>
                  </a:cubicBezTo>
                  <a:lnTo>
                    <a:pt x="256497" y="207925"/>
                  </a:lnTo>
                  <a:cubicBezTo>
                    <a:pt x="258401" y="225415"/>
                    <a:pt x="274122" y="238049"/>
                    <a:pt x="291611" y="236144"/>
                  </a:cubicBezTo>
                  <a:cubicBezTo>
                    <a:pt x="306475" y="234526"/>
                    <a:pt x="318213" y="222789"/>
                    <a:pt x="319831" y="207925"/>
                  </a:cubicBezTo>
                  <a:lnTo>
                    <a:pt x="359711" y="207925"/>
                  </a:lnTo>
                  <a:cubicBezTo>
                    <a:pt x="363156" y="207925"/>
                    <a:pt x="365948" y="205132"/>
                    <a:pt x="365948" y="201687"/>
                  </a:cubicBezTo>
                  <a:lnTo>
                    <a:pt x="365948" y="122676"/>
                  </a:lnTo>
                  <a:cubicBezTo>
                    <a:pt x="365948" y="119231"/>
                    <a:pt x="363156" y="116438"/>
                    <a:pt x="359711" y="116438"/>
                  </a:cubicBezTo>
                  <a:close/>
                  <a:moveTo>
                    <a:pt x="85249" y="223894"/>
                  </a:moveTo>
                  <a:cubicBezTo>
                    <a:pt x="74547" y="223940"/>
                    <a:pt x="65834" y="215301"/>
                    <a:pt x="65788" y="204598"/>
                  </a:cubicBezTo>
                  <a:cubicBezTo>
                    <a:pt x="65742" y="193896"/>
                    <a:pt x="74381" y="185183"/>
                    <a:pt x="85083" y="185137"/>
                  </a:cubicBezTo>
                  <a:cubicBezTo>
                    <a:pt x="95785" y="185091"/>
                    <a:pt x="104499" y="193730"/>
                    <a:pt x="104545" y="204432"/>
                  </a:cubicBezTo>
                  <a:cubicBezTo>
                    <a:pt x="104545" y="204474"/>
                    <a:pt x="104545" y="204515"/>
                    <a:pt x="104545" y="204557"/>
                  </a:cubicBezTo>
                  <a:cubicBezTo>
                    <a:pt x="104523" y="215147"/>
                    <a:pt x="96004" y="223758"/>
                    <a:pt x="85416" y="223894"/>
                  </a:cubicBezTo>
                  <a:close/>
                  <a:moveTo>
                    <a:pt x="85249" y="172703"/>
                  </a:moveTo>
                  <a:cubicBezTo>
                    <a:pt x="71231" y="172790"/>
                    <a:pt x="58913" y="182020"/>
                    <a:pt x="54892" y="195450"/>
                  </a:cubicBezTo>
                  <a:lnTo>
                    <a:pt x="12476" y="195450"/>
                  </a:lnTo>
                  <a:lnTo>
                    <a:pt x="12476" y="12476"/>
                  </a:lnTo>
                  <a:lnTo>
                    <a:pt x="212084" y="12476"/>
                  </a:lnTo>
                  <a:lnTo>
                    <a:pt x="212084" y="195450"/>
                  </a:lnTo>
                  <a:lnTo>
                    <a:pt x="115856" y="195450"/>
                  </a:lnTo>
                  <a:cubicBezTo>
                    <a:pt x="111838" y="181983"/>
                    <a:pt x="99469" y="172740"/>
                    <a:pt x="85416" y="172703"/>
                  </a:cubicBezTo>
                  <a:close/>
                  <a:moveTo>
                    <a:pt x="288143" y="223894"/>
                  </a:moveTo>
                  <a:cubicBezTo>
                    <a:pt x="277440" y="223894"/>
                    <a:pt x="268764" y="215218"/>
                    <a:pt x="268764" y="204515"/>
                  </a:cubicBezTo>
                  <a:cubicBezTo>
                    <a:pt x="268764" y="193813"/>
                    <a:pt x="277440" y="185137"/>
                    <a:pt x="288143" y="185137"/>
                  </a:cubicBezTo>
                  <a:cubicBezTo>
                    <a:pt x="298846" y="185137"/>
                    <a:pt x="307521" y="193813"/>
                    <a:pt x="307521" y="204515"/>
                  </a:cubicBezTo>
                  <a:cubicBezTo>
                    <a:pt x="307521" y="204529"/>
                    <a:pt x="307521" y="204543"/>
                    <a:pt x="307521" y="204557"/>
                  </a:cubicBezTo>
                  <a:cubicBezTo>
                    <a:pt x="307499" y="215243"/>
                    <a:pt x="298829" y="223894"/>
                    <a:pt x="288143" y="223894"/>
                  </a:cubicBezTo>
                  <a:close/>
                  <a:moveTo>
                    <a:pt x="353473" y="195450"/>
                  </a:moveTo>
                  <a:lnTo>
                    <a:pt x="318666" y="195450"/>
                  </a:lnTo>
                  <a:cubicBezTo>
                    <a:pt x="313524" y="178649"/>
                    <a:pt x="295736" y="169199"/>
                    <a:pt x="278936" y="174341"/>
                  </a:cubicBezTo>
                  <a:cubicBezTo>
                    <a:pt x="268830" y="177435"/>
                    <a:pt x="260920" y="185344"/>
                    <a:pt x="257827" y="195450"/>
                  </a:cubicBezTo>
                  <a:lnTo>
                    <a:pt x="224559" y="195450"/>
                  </a:lnTo>
                  <a:lnTo>
                    <a:pt x="224559" y="70695"/>
                  </a:lnTo>
                  <a:lnTo>
                    <a:pt x="316046" y="70695"/>
                  </a:lnTo>
                  <a:lnTo>
                    <a:pt x="316046" y="122676"/>
                  </a:lnTo>
                  <a:cubicBezTo>
                    <a:pt x="316046" y="126121"/>
                    <a:pt x="318839" y="128914"/>
                    <a:pt x="322284" y="128914"/>
                  </a:cubicBezTo>
                  <a:lnTo>
                    <a:pt x="353473" y="128914"/>
                  </a:lnTo>
                  <a:close/>
                </a:path>
              </a:pathLst>
            </a:custGeom>
            <a:solidFill>
              <a:schemeClr val="accent1"/>
            </a:solidFill>
            <a:ln w="4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/>
                <a:sym typeface="Arial"/>
              </a:endParaRPr>
            </a:p>
          </p:txBody>
        </p:sp>
        <p:sp>
          <p:nvSpPr>
            <p:cNvPr id="110" name="Полилиния: фигура 58">
              <a:extLst>
                <a:ext uri="{FF2B5EF4-FFF2-40B4-BE49-F238E27FC236}">
                  <a16:creationId xmlns="" xmlns:a16="http://schemas.microsoft.com/office/drawing/2014/main" id="{1758178D-6C92-4DAE-8E05-907E6D728A92}"/>
                </a:ext>
              </a:extLst>
            </p:cNvPr>
            <p:cNvSpPr/>
            <p:nvPr/>
          </p:nvSpPr>
          <p:spPr>
            <a:xfrm>
              <a:off x="2815062" y="2713779"/>
              <a:ext cx="149706" cy="66536"/>
            </a:xfrm>
            <a:custGeom>
              <a:avLst/>
              <a:gdLst>
                <a:gd name="connsiteX0" fmla="*/ 6238 w 149706"/>
                <a:gd name="connsiteY0" fmla="*/ 36983 h 66536"/>
                <a:gd name="connsiteX1" fmla="*/ 133072 w 149706"/>
                <a:gd name="connsiteY1" fmla="*/ 36983 h 66536"/>
                <a:gd name="connsiteX2" fmla="*/ 112280 w 149706"/>
                <a:gd name="connsiteY2" fmla="*/ 57775 h 66536"/>
                <a:gd name="connsiteX3" fmla="*/ 111969 w 149706"/>
                <a:gd name="connsiteY3" fmla="*/ 66591 h 66536"/>
                <a:gd name="connsiteX4" fmla="*/ 120785 w 149706"/>
                <a:gd name="connsiteY4" fmla="*/ 66902 h 66536"/>
                <a:gd name="connsiteX5" fmla="*/ 121096 w 149706"/>
                <a:gd name="connsiteY5" fmla="*/ 66591 h 66536"/>
                <a:gd name="connsiteX6" fmla="*/ 149082 w 149706"/>
                <a:gd name="connsiteY6" fmla="*/ 38605 h 66536"/>
                <a:gd name="connsiteX7" fmla="*/ 149082 w 149706"/>
                <a:gd name="connsiteY7" fmla="*/ 29789 h 66536"/>
                <a:gd name="connsiteX8" fmla="*/ 121096 w 149706"/>
                <a:gd name="connsiteY8" fmla="*/ 1802 h 66536"/>
                <a:gd name="connsiteX9" fmla="*/ 112196 w 149706"/>
                <a:gd name="connsiteY9" fmla="*/ 1885 h 66536"/>
                <a:gd name="connsiteX10" fmla="*/ 112280 w 149706"/>
                <a:gd name="connsiteY10" fmla="*/ 10784 h 66536"/>
                <a:gd name="connsiteX11" fmla="*/ 126003 w 149706"/>
                <a:gd name="connsiteY11" fmla="*/ 24507 h 66536"/>
                <a:gd name="connsiteX12" fmla="*/ 6238 w 149706"/>
                <a:gd name="connsiteY12" fmla="*/ 24507 h 66536"/>
                <a:gd name="connsiteX13" fmla="*/ 0 w 149706"/>
                <a:gd name="connsiteY13" fmla="*/ 30745 h 66536"/>
                <a:gd name="connsiteX14" fmla="*/ 6238 w 149706"/>
                <a:gd name="connsiteY14" fmla="*/ 36983 h 66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9706" h="66536">
                  <a:moveTo>
                    <a:pt x="6238" y="36983"/>
                  </a:moveTo>
                  <a:lnTo>
                    <a:pt x="133072" y="36983"/>
                  </a:lnTo>
                  <a:lnTo>
                    <a:pt x="112280" y="57775"/>
                  </a:lnTo>
                  <a:cubicBezTo>
                    <a:pt x="109759" y="60124"/>
                    <a:pt x="109620" y="64071"/>
                    <a:pt x="111969" y="66591"/>
                  </a:cubicBezTo>
                  <a:cubicBezTo>
                    <a:pt x="114317" y="69112"/>
                    <a:pt x="118264" y="69251"/>
                    <a:pt x="120785" y="66902"/>
                  </a:cubicBezTo>
                  <a:cubicBezTo>
                    <a:pt x="120892" y="66803"/>
                    <a:pt x="120995" y="66699"/>
                    <a:pt x="121096" y="66591"/>
                  </a:cubicBezTo>
                  <a:lnTo>
                    <a:pt x="149082" y="38605"/>
                  </a:lnTo>
                  <a:cubicBezTo>
                    <a:pt x="151515" y="36169"/>
                    <a:pt x="151515" y="32224"/>
                    <a:pt x="149082" y="29789"/>
                  </a:cubicBezTo>
                  <a:lnTo>
                    <a:pt x="121096" y="1802"/>
                  </a:lnTo>
                  <a:cubicBezTo>
                    <a:pt x="118615" y="-633"/>
                    <a:pt x="114631" y="-596"/>
                    <a:pt x="112196" y="1885"/>
                  </a:cubicBezTo>
                  <a:cubicBezTo>
                    <a:pt x="109762" y="4366"/>
                    <a:pt x="109799" y="8350"/>
                    <a:pt x="112280" y="10784"/>
                  </a:cubicBezTo>
                  <a:lnTo>
                    <a:pt x="126003" y="24507"/>
                  </a:lnTo>
                  <a:lnTo>
                    <a:pt x="6238" y="24507"/>
                  </a:lnTo>
                  <a:cubicBezTo>
                    <a:pt x="2793" y="24507"/>
                    <a:pt x="0" y="27300"/>
                    <a:pt x="0" y="30745"/>
                  </a:cubicBezTo>
                  <a:cubicBezTo>
                    <a:pt x="0" y="34190"/>
                    <a:pt x="2793" y="36983"/>
                    <a:pt x="6238" y="36983"/>
                  </a:cubicBezTo>
                  <a:close/>
                </a:path>
              </a:pathLst>
            </a:custGeom>
            <a:grpFill/>
            <a:ln w="4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/>
                <a:sym typeface="Arial"/>
              </a:endParaRPr>
            </a:p>
          </p:txBody>
        </p:sp>
        <p:sp>
          <p:nvSpPr>
            <p:cNvPr id="111" name="Полилиния: фигура 59">
              <a:extLst>
                <a:ext uri="{FF2B5EF4-FFF2-40B4-BE49-F238E27FC236}">
                  <a16:creationId xmlns="" xmlns:a16="http://schemas.microsoft.com/office/drawing/2014/main" id="{337E51B2-39F5-4FE5-9BF6-BA9E4410B158}"/>
                </a:ext>
              </a:extLst>
            </p:cNvPr>
            <p:cNvSpPr/>
            <p:nvPr/>
          </p:nvSpPr>
          <p:spPr>
            <a:xfrm>
              <a:off x="2805461" y="2773851"/>
              <a:ext cx="149706" cy="66536"/>
            </a:xfrm>
            <a:custGeom>
              <a:avLst/>
              <a:gdLst>
                <a:gd name="connsiteX0" fmla="*/ 150990 w 149706"/>
                <a:gd name="connsiteY0" fmla="*/ 37209 h 66536"/>
                <a:gd name="connsiteX1" fmla="*/ 144752 w 149706"/>
                <a:gd name="connsiteY1" fmla="*/ 30971 h 66536"/>
                <a:gd name="connsiteX2" fmla="*/ 18333 w 149706"/>
                <a:gd name="connsiteY2" fmla="*/ 30971 h 66536"/>
                <a:gd name="connsiteX3" fmla="*/ 38710 w 149706"/>
                <a:gd name="connsiteY3" fmla="*/ 10636 h 66536"/>
                <a:gd name="connsiteX4" fmla="*/ 38648 w 149706"/>
                <a:gd name="connsiteY4" fmla="*/ 1799 h 66536"/>
                <a:gd name="connsiteX5" fmla="*/ 29811 w 149706"/>
                <a:gd name="connsiteY5" fmla="*/ 1862 h 66536"/>
                <a:gd name="connsiteX6" fmla="*/ 1824 w 149706"/>
                <a:gd name="connsiteY6" fmla="*/ 29848 h 66536"/>
                <a:gd name="connsiteX7" fmla="*/ 1824 w 149706"/>
                <a:gd name="connsiteY7" fmla="*/ 38664 h 66536"/>
                <a:gd name="connsiteX8" fmla="*/ 29811 w 149706"/>
                <a:gd name="connsiteY8" fmla="*/ 66651 h 66536"/>
                <a:gd name="connsiteX9" fmla="*/ 38689 w 149706"/>
                <a:gd name="connsiteY9" fmla="*/ 66672 h 66536"/>
                <a:gd name="connsiteX10" fmla="*/ 38710 w 149706"/>
                <a:gd name="connsiteY10" fmla="*/ 57793 h 66536"/>
                <a:gd name="connsiteX11" fmla="*/ 24322 w 149706"/>
                <a:gd name="connsiteY11" fmla="*/ 43447 h 66536"/>
                <a:gd name="connsiteX12" fmla="*/ 144918 w 149706"/>
                <a:gd name="connsiteY12" fmla="*/ 43447 h 66536"/>
                <a:gd name="connsiteX13" fmla="*/ 150990 w 149706"/>
                <a:gd name="connsiteY13" fmla="*/ 37209 h 66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706" h="66536">
                  <a:moveTo>
                    <a:pt x="150990" y="37209"/>
                  </a:moveTo>
                  <a:cubicBezTo>
                    <a:pt x="150990" y="33764"/>
                    <a:pt x="148197" y="30971"/>
                    <a:pt x="144752" y="30971"/>
                  </a:cubicBezTo>
                  <a:lnTo>
                    <a:pt x="18333" y="30971"/>
                  </a:lnTo>
                  <a:lnTo>
                    <a:pt x="38710" y="10636"/>
                  </a:lnTo>
                  <a:cubicBezTo>
                    <a:pt x="41133" y="8179"/>
                    <a:pt x="41105" y="4222"/>
                    <a:pt x="38648" y="1799"/>
                  </a:cubicBezTo>
                  <a:cubicBezTo>
                    <a:pt x="36191" y="-624"/>
                    <a:pt x="32234" y="-596"/>
                    <a:pt x="29811" y="1862"/>
                  </a:cubicBezTo>
                  <a:lnTo>
                    <a:pt x="1824" y="29848"/>
                  </a:lnTo>
                  <a:cubicBezTo>
                    <a:pt x="-608" y="32283"/>
                    <a:pt x="-608" y="36229"/>
                    <a:pt x="1824" y="38664"/>
                  </a:cubicBezTo>
                  <a:lnTo>
                    <a:pt x="29811" y="66651"/>
                  </a:lnTo>
                  <a:cubicBezTo>
                    <a:pt x="32257" y="69108"/>
                    <a:pt x="36232" y="69118"/>
                    <a:pt x="38689" y="66672"/>
                  </a:cubicBezTo>
                  <a:cubicBezTo>
                    <a:pt x="41147" y="64226"/>
                    <a:pt x="41156" y="60251"/>
                    <a:pt x="38710" y="57793"/>
                  </a:cubicBezTo>
                  <a:lnTo>
                    <a:pt x="24322" y="43447"/>
                  </a:lnTo>
                  <a:lnTo>
                    <a:pt x="144918" y="43447"/>
                  </a:lnTo>
                  <a:cubicBezTo>
                    <a:pt x="148298" y="43356"/>
                    <a:pt x="150991" y="40590"/>
                    <a:pt x="150990" y="37209"/>
                  </a:cubicBezTo>
                  <a:close/>
                </a:path>
              </a:pathLst>
            </a:custGeom>
            <a:grpFill/>
            <a:ln w="4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/>
                <a:sym typeface="Arial"/>
              </a:endParaRPr>
            </a:p>
          </p:txBody>
        </p:sp>
      </p:grpSp>
      <p:grpSp>
        <p:nvGrpSpPr>
          <p:cNvPr id="93" name="Группа 12">
            <a:extLst>
              <a:ext uri="{FF2B5EF4-FFF2-40B4-BE49-F238E27FC236}">
                <a16:creationId xmlns="" xmlns:a16="http://schemas.microsoft.com/office/drawing/2014/main" id="{6ECB130D-4A47-4E4D-8C8D-B22833868C8C}"/>
              </a:ext>
            </a:extLst>
          </p:cNvPr>
          <p:cNvGrpSpPr/>
          <p:nvPr/>
        </p:nvGrpSpPr>
        <p:grpSpPr>
          <a:xfrm>
            <a:off x="948143" y="5945391"/>
            <a:ext cx="1622639" cy="681689"/>
            <a:chOff x="622549" y="1270983"/>
            <a:chExt cx="1622639" cy="681689"/>
          </a:xfrm>
        </p:grpSpPr>
        <p:sp>
          <p:nvSpPr>
            <p:cNvPr id="94" name="Заголовок 1">
              <a:extLst>
                <a:ext uri="{FF2B5EF4-FFF2-40B4-BE49-F238E27FC236}">
                  <a16:creationId xmlns="" xmlns:a16="http://schemas.microsoft.com/office/drawing/2014/main" id="{8ADD8816-9E3E-4656-909D-F4BA7F8FF527}"/>
                </a:ext>
              </a:extLst>
            </p:cNvPr>
            <p:cNvSpPr txBox="1">
              <a:spLocks/>
            </p:cNvSpPr>
            <p:nvPr/>
          </p:nvSpPr>
          <p:spPr>
            <a:xfrm>
              <a:off x="1005797" y="1270983"/>
              <a:ext cx="1239391" cy="3693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ru-RU" sz="2400" dirty="0" smtClean="0">
                  <a:solidFill>
                    <a:srgbClr val="001489"/>
                  </a:solidFill>
                  <a:ea typeface="+mj-ea"/>
                  <a:cs typeface="+mj-cs"/>
                </a:rPr>
                <a:t>2,6</a:t>
              </a:r>
              <a:r>
                <a:rPr kumimoji="0" lang="ru-RU" sz="24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1489"/>
                  </a:solidFill>
                  <a:effectLst/>
                  <a:uLnTx/>
                  <a:uFillTx/>
                  <a:ea typeface="+mj-ea"/>
                  <a:cs typeface="+mj-cs"/>
                  <a:sym typeface="Arial"/>
                </a:rPr>
                <a:t> млн.</a:t>
              </a:r>
              <a:endParaRPr kumimoji="0" lang="ru-RU" sz="2400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ea typeface="+mj-ea"/>
                <a:cs typeface="+mj-cs"/>
                <a:sym typeface="Arial"/>
              </a:endParaRPr>
            </a:p>
          </p:txBody>
        </p:sp>
        <p:sp>
          <p:nvSpPr>
            <p:cNvPr id="95" name="Заголовок 1">
              <a:extLst>
                <a:ext uri="{FF2B5EF4-FFF2-40B4-BE49-F238E27FC236}">
                  <a16:creationId xmlns="" xmlns:a16="http://schemas.microsoft.com/office/drawing/2014/main" id="{565F1D29-40B4-4C5B-898C-17DBB0CAF9CC}"/>
                </a:ext>
              </a:extLst>
            </p:cNvPr>
            <p:cNvSpPr txBox="1">
              <a:spLocks/>
            </p:cNvSpPr>
            <p:nvPr/>
          </p:nvSpPr>
          <p:spPr>
            <a:xfrm>
              <a:off x="622549" y="1644895"/>
              <a:ext cx="1559644" cy="3077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ru-RU" sz="1000" dirty="0">
                  <a:solidFill>
                    <a:srgbClr val="1F1F1F">
                      <a:lumMod val="75000"/>
                      <a:lumOff val="25000"/>
                    </a:srgbClr>
                  </a:solidFill>
                  <a:latin typeface="+mn-lt"/>
                  <a:ea typeface="+mj-ea"/>
                  <a:cs typeface="+mj-cs"/>
                </a:rPr>
                <a:t>о</a:t>
              </a:r>
              <a:r>
                <a:rPr lang="ru-RU" sz="1000" dirty="0" smtClean="0">
                  <a:solidFill>
                    <a:srgbClr val="1F1F1F">
                      <a:lumMod val="75000"/>
                      <a:lumOff val="25000"/>
                    </a:srgbClr>
                  </a:solidFill>
                  <a:latin typeface="+mn-lt"/>
                  <a:ea typeface="+mj-ea"/>
                  <a:cs typeface="+mj-cs"/>
                </a:rPr>
                <a:t>бщая п</a:t>
              </a:r>
              <a:r>
                <a:rPr kumimoji="0" lang="ru-RU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1F1F1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rPr>
                <a:t>ротяжённость</a:t>
              </a:r>
              <a:r>
                <a:rPr kumimoji="0" lang="ru-RU" sz="1000" b="0" i="0" u="none" strike="noStrike" kern="1200" cap="none" spc="0" normalizeH="0" noProof="0" dirty="0" smtClean="0">
                  <a:ln>
                    <a:noFill/>
                  </a:ln>
                  <a:solidFill>
                    <a:srgbClr val="1F1F1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rPr>
                <a:t> логистических маршрутов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F1F1F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Arial"/>
              </a:endParaRPr>
            </a:p>
          </p:txBody>
        </p:sp>
      </p:grpSp>
      <p:grpSp>
        <p:nvGrpSpPr>
          <p:cNvPr id="102" name="Группа 12">
            <a:extLst>
              <a:ext uri="{FF2B5EF4-FFF2-40B4-BE49-F238E27FC236}">
                <a16:creationId xmlns="" xmlns:a16="http://schemas.microsoft.com/office/drawing/2014/main" id="{6ECB130D-4A47-4E4D-8C8D-B22833868C8C}"/>
              </a:ext>
            </a:extLst>
          </p:cNvPr>
          <p:cNvGrpSpPr/>
          <p:nvPr/>
        </p:nvGrpSpPr>
        <p:grpSpPr>
          <a:xfrm>
            <a:off x="4837061" y="5996907"/>
            <a:ext cx="1559644" cy="527800"/>
            <a:chOff x="622549" y="1270983"/>
            <a:chExt cx="1559644" cy="527800"/>
          </a:xfrm>
        </p:grpSpPr>
        <p:sp>
          <p:nvSpPr>
            <p:cNvPr id="112" name="Заголовок 1">
              <a:extLst>
                <a:ext uri="{FF2B5EF4-FFF2-40B4-BE49-F238E27FC236}">
                  <a16:creationId xmlns="" xmlns:a16="http://schemas.microsoft.com/office/drawing/2014/main" id="{8ADD8816-9E3E-4656-909D-F4BA7F8FF527}"/>
                </a:ext>
              </a:extLst>
            </p:cNvPr>
            <p:cNvSpPr txBox="1">
              <a:spLocks/>
            </p:cNvSpPr>
            <p:nvPr/>
          </p:nvSpPr>
          <p:spPr>
            <a:xfrm>
              <a:off x="942802" y="1270983"/>
              <a:ext cx="1239391" cy="3693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en-US" sz="2400" dirty="0" smtClean="0">
                  <a:solidFill>
                    <a:srgbClr val="001489"/>
                  </a:solidFill>
                  <a:ea typeface="+mj-ea"/>
                  <a:cs typeface="+mj-cs"/>
                </a:rPr>
                <a:t>&gt;</a:t>
              </a:r>
              <a:r>
                <a:rPr lang="ru-RU" sz="2400" dirty="0" smtClean="0">
                  <a:solidFill>
                    <a:srgbClr val="001489"/>
                  </a:solidFill>
                  <a:ea typeface="+mj-ea"/>
                  <a:cs typeface="+mj-cs"/>
                </a:rPr>
                <a:t>1</a:t>
              </a:r>
              <a:r>
                <a:rPr lang="en-US" sz="2400" dirty="0" smtClean="0">
                  <a:solidFill>
                    <a:srgbClr val="001489"/>
                  </a:solidFill>
                  <a:ea typeface="+mj-ea"/>
                  <a:cs typeface="+mj-cs"/>
                </a:rPr>
                <a:t>5</a:t>
              </a:r>
              <a:r>
                <a:rPr lang="ru-RU" sz="2400" dirty="0" smtClean="0">
                  <a:solidFill>
                    <a:srgbClr val="001489"/>
                  </a:solidFill>
                  <a:ea typeface="+mj-ea"/>
                  <a:cs typeface="+mj-cs"/>
                </a:rPr>
                <a:t>00</a:t>
              </a:r>
              <a:endParaRPr kumimoji="0" lang="ru-RU" sz="2400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ea typeface="+mj-ea"/>
                <a:cs typeface="+mj-cs"/>
                <a:sym typeface="Arial"/>
              </a:endParaRPr>
            </a:p>
          </p:txBody>
        </p:sp>
        <p:sp>
          <p:nvSpPr>
            <p:cNvPr id="113" name="Заголовок 1">
              <a:extLst>
                <a:ext uri="{FF2B5EF4-FFF2-40B4-BE49-F238E27FC236}">
                  <a16:creationId xmlns="" xmlns:a16="http://schemas.microsoft.com/office/drawing/2014/main" id="{565F1D29-40B4-4C5B-898C-17DBB0CAF9CC}"/>
                </a:ext>
              </a:extLst>
            </p:cNvPr>
            <p:cNvSpPr txBox="1">
              <a:spLocks/>
            </p:cNvSpPr>
            <p:nvPr/>
          </p:nvSpPr>
          <p:spPr>
            <a:xfrm>
              <a:off x="622549" y="1644895"/>
              <a:ext cx="1559644" cy="15388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ru-RU" sz="1000" dirty="0" smtClean="0">
                  <a:solidFill>
                    <a:srgbClr val="1F1F1F">
                      <a:lumMod val="75000"/>
                      <a:lumOff val="25000"/>
                    </a:srgbClr>
                  </a:solidFill>
                  <a:latin typeface="+mn-lt"/>
                  <a:ea typeface="+mj-ea"/>
                  <a:cs typeface="+mj-cs"/>
                </a:rPr>
                <a:t>авиамаршрутов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F1F1F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Arial"/>
              </a:endParaRPr>
            </a:p>
          </p:txBody>
        </p:sp>
      </p:grpSp>
      <p:grpSp>
        <p:nvGrpSpPr>
          <p:cNvPr id="118" name="Группа 12">
            <a:extLst>
              <a:ext uri="{FF2B5EF4-FFF2-40B4-BE49-F238E27FC236}">
                <a16:creationId xmlns="" xmlns:a16="http://schemas.microsoft.com/office/drawing/2014/main" id="{6ECB130D-4A47-4E4D-8C8D-B22833868C8C}"/>
              </a:ext>
            </a:extLst>
          </p:cNvPr>
          <p:cNvGrpSpPr/>
          <p:nvPr/>
        </p:nvGrpSpPr>
        <p:grpSpPr>
          <a:xfrm>
            <a:off x="9130521" y="5945391"/>
            <a:ext cx="1585625" cy="527800"/>
            <a:chOff x="622549" y="1270983"/>
            <a:chExt cx="1585625" cy="527800"/>
          </a:xfrm>
        </p:grpSpPr>
        <p:sp>
          <p:nvSpPr>
            <p:cNvPr id="119" name="Заголовок 1">
              <a:extLst>
                <a:ext uri="{FF2B5EF4-FFF2-40B4-BE49-F238E27FC236}">
                  <a16:creationId xmlns="" xmlns:a16="http://schemas.microsoft.com/office/drawing/2014/main" id="{8ADD8816-9E3E-4656-909D-F4BA7F8FF527}"/>
                </a:ext>
              </a:extLst>
            </p:cNvPr>
            <p:cNvSpPr txBox="1">
              <a:spLocks/>
            </p:cNvSpPr>
            <p:nvPr/>
          </p:nvSpPr>
          <p:spPr>
            <a:xfrm>
              <a:off x="968783" y="1270983"/>
              <a:ext cx="1239391" cy="3693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en-US" sz="2400" dirty="0" smtClean="0">
                  <a:solidFill>
                    <a:srgbClr val="001489"/>
                  </a:solidFill>
                  <a:ea typeface="+mj-ea"/>
                  <a:cs typeface="+mj-cs"/>
                </a:rPr>
                <a:t>&gt;100</a:t>
              </a:r>
              <a:endParaRPr kumimoji="0" lang="ru-RU" sz="2400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ea typeface="+mj-ea"/>
                <a:cs typeface="+mj-cs"/>
                <a:sym typeface="Arial"/>
              </a:endParaRPr>
            </a:p>
          </p:txBody>
        </p:sp>
        <p:sp>
          <p:nvSpPr>
            <p:cNvPr id="120" name="Заголовок 1">
              <a:extLst>
                <a:ext uri="{FF2B5EF4-FFF2-40B4-BE49-F238E27FC236}">
                  <a16:creationId xmlns="" xmlns:a16="http://schemas.microsoft.com/office/drawing/2014/main" id="{565F1D29-40B4-4C5B-898C-17DBB0CAF9CC}"/>
                </a:ext>
              </a:extLst>
            </p:cNvPr>
            <p:cNvSpPr txBox="1">
              <a:spLocks/>
            </p:cNvSpPr>
            <p:nvPr/>
          </p:nvSpPr>
          <p:spPr>
            <a:xfrm>
              <a:off x="622549" y="1644895"/>
              <a:ext cx="1559644" cy="15388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ru-RU" sz="1000" noProof="0" dirty="0" smtClean="0">
                  <a:solidFill>
                    <a:srgbClr val="1F1F1F">
                      <a:lumMod val="75000"/>
                      <a:lumOff val="25000"/>
                    </a:srgbClr>
                  </a:solidFill>
                  <a:latin typeface="+mn-lt"/>
                  <a:ea typeface="+mj-ea"/>
                  <a:cs typeface="+mj-cs"/>
                </a:rPr>
                <a:t>ж/д маршрутов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F1F1F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Arial"/>
              </a:endParaRPr>
            </a:p>
          </p:txBody>
        </p:sp>
      </p:grpSp>
      <p:grpSp>
        <p:nvGrpSpPr>
          <p:cNvPr id="125" name="Рисунок 13">
            <a:extLst>
              <a:ext uri="{FF2B5EF4-FFF2-40B4-BE49-F238E27FC236}">
                <a16:creationId xmlns="" xmlns:a16="http://schemas.microsoft.com/office/drawing/2014/main" id="{31A8EB7E-4EFE-485D-865E-FD488B6CFD43}"/>
              </a:ext>
            </a:extLst>
          </p:cNvPr>
          <p:cNvGrpSpPr>
            <a:grpSpLocks noChangeAspect="1"/>
          </p:cNvGrpSpPr>
          <p:nvPr/>
        </p:nvGrpSpPr>
        <p:grpSpPr>
          <a:xfrm>
            <a:off x="974208" y="5969598"/>
            <a:ext cx="287394" cy="273914"/>
            <a:chOff x="3025605" y="1098365"/>
            <a:chExt cx="433137" cy="412822"/>
          </a:xfrm>
          <a:solidFill>
            <a:schemeClr val="tx2"/>
          </a:solidFill>
        </p:grpSpPr>
        <p:sp>
          <p:nvSpPr>
            <p:cNvPr id="126" name="Полилиния: фигура 805">
              <a:extLst>
                <a:ext uri="{FF2B5EF4-FFF2-40B4-BE49-F238E27FC236}">
                  <a16:creationId xmlns="" xmlns:a16="http://schemas.microsoft.com/office/drawing/2014/main" id="{D1EB2E89-8985-482C-9BCB-8FA67239F774}"/>
                </a:ext>
              </a:extLst>
            </p:cNvPr>
            <p:cNvSpPr/>
            <p:nvPr/>
          </p:nvSpPr>
          <p:spPr>
            <a:xfrm>
              <a:off x="3025605" y="1304468"/>
              <a:ext cx="120656" cy="206719"/>
            </a:xfrm>
            <a:custGeom>
              <a:avLst/>
              <a:gdLst>
                <a:gd name="connsiteX0" fmla="*/ 67415 w 120656"/>
                <a:gd name="connsiteY0" fmla="*/ 168132 h 206718"/>
                <a:gd name="connsiteX1" fmla="*/ 92672 w 120656"/>
                <a:gd name="connsiteY1" fmla="*/ 127894 h 206718"/>
                <a:gd name="connsiteX2" fmla="*/ 120153 w 120656"/>
                <a:gd name="connsiteY2" fmla="*/ 60392 h 206718"/>
                <a:gd name="connsiteX3" fmla="*/ 60393 w 120656"/>
                <a:gd name="connsiteY3" fmla="*/ 633 h 206718"/>
                <a:gd name="connsiteX4" fmla="*/ 633 w 120656"/>
                <a:gd name="connsiteY4" fmla="*/ 60394 h 206718"/>
                <a:gd name="connsiteX5" fmla="*/ 53362 w 120656"/>
                <a:gd name="connsiteY5" fmla="*/ 168136 h 206718"/>
                <a:gd name="connsiteX6" fmla="*/ 40524 w 120656"/>
                <a:gd name="connsiteY6" fmla="*/ 186715 h 206718"/>
                <a:gd name="connsiteX7" fmla="*/ 60393 w 120656"/>
                <a:gd name="connsiteY7" fmla="*/ 206585 h 206718"/>
                <a:gd name="connsiteX8" fmla="*/ 79237 w 120656"/>
                <a:gd name="connsiteY8" fmla="*/ 193003 h 206718"/>
                <a:gd name="connsiteX9" fmla="*/ 93955 w 120656"/>
                <a:gd name="connsiteY9" fmla="*/ 193003 h 206718"/>
                <a:gd name="connsiteX10" fmla="*/ 93955 w 120656"/>
                <a:gd name="connsiteY10" fmla="*/ 179859 h 206718"/>
                <a:gd name="connsiteX11" fmla="*/ 79042 w 120656"/>
                <a:gd name="connsiteY11" fmla="*/ 179859 h 206718"/>
                <a:gd name="connsiteX12" fmla="*/ 67415 w 120656"/>
                <a:gd name="connsiteY12" fmla="*/ 168132 h 206718"/>
                <a:gd name="connsiteX13" fmla="*/ 13777 w 120656"/>
                <a:gd name="connsiteY13" fmla="*/ 60394 h 206718"/>
                <a:gd name="connsiteX14" fmla="*/ 60392 w 120656"/>
                <a:gd name="connsiteY14" fmla="*/ 13778 h 206718"/>
                <a:gd name="connsiteX15" fmla="*/ 107008 w 120656"/>
                <a:gd name="connsiteY15" fmla="*/ 60394 h 206718"/>
                <a:gd name="connsiteX16" fmla="*/ 60392 w 120656"/>
                <a:gd name="connsiteY16" fmla="*/ 155019 h 206718"/>
                <a:gd name="connsiteX17" fmla="*/ 13777 w 120656"/>
                <a:gd name="connsiteY17" fmla="*/ 60394 h 206718"/>
                <a:gd name="connsiteX18" fmla="*/ 60392 w 120656"/>
                <a:gd name="connsiteY18" fmla="*/ 193440 h 206718"/>
                <a:gd name="connsiteX19" fmla="*/ 53667 w 120656"/>
                <a:gd name="connsiteY19" fmla="*/ 186714 h 206718"/>
                <a:gd name="connsiteX20" fmla="*/ 60392 w 120656"/>
                <a:gd name="connsiteY20" fmla="*/ 179990 h 206718"/>
                <a:gd name="connsiteX21" fmla="*/ 67118 w 120656"/>
                <a:gd name="connsiteY21" fmla="*/ 186714 h 206718"/>
                <a:gd name="connsiteX22" fmla="*/ 60392 w 120656"/>
                <a:gd name="connsiteY22" fmla="*/ 193440 h 206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0656" h="206718">
                  <a:moveTo>
                    <a:pt x="67415" y="168132"/>
                  </a:moveTo>
                  <a:cubicBezTo>
                    <a:pt x="71384" y="162256"/>
                    <a:pt x="82083" y="146146"/>
                    <a:pt x="92672" y="127894"/>
                  </a:cubicBezTo>
                  <a:cubicBezTo>
                    <a:pt x="110907" y="96458"/>
                    <a:pt x="120153" y="73749"/>
                    <a:pt x="120153" y="60392"/>
                  </a:cubicBezTo>
                  <a:cubicBezTo>
                    <a:pt x="120153" y="27441"/>
                    <a:pt x="93344" y="633"/>
                    <a:pt x="60393" y="633"/>
                  </a:cubicBezTo>
                  <a:cubicBezTo>
                    <a:pt x="27441" y="633"/>
                    <a:pt x="633" y="27441"/>
                    <a:pt x="633" y="60394"/>
                  </a:cubicBezTo>
                  <a:cubicBezTo>
                    <a:pt x="633" y="88940"/>
                    <a:pt x="43248" y="153271"/>
                    <a:pt x="53362" y="168136"/>
                  </a:cubicBezTo>
                  <a:cubicBezTo>
                    <a:pt x="45866" y="170982"/>
                    <a:pt x="40524" y="178235"/>
                    <a:pt x="40524" y="186715"/>
                  </a:cubicBezTo>
                  <a:cubicBezTo>
                    <a:pt x="40524" y="197671"/>
                    <a:pt x="49437" y="206585"/>
                    <a:pt x="60393" y="206585"/>
                  </a:cubicBezTo>
                  <a:cubicBezTo>
                    <a:pt x="69152" y="206585"/>
                    <a:pt x="76600" y="200885"/>
                    <a:pt x="79237" y="193003"/>
                  </a:cubicBezTo>
                  <a:lnTo>
                    <a:pt x="93955" y="193003"/>
                  </a:lnTo>
                  <a:lnTo>
                    <a:pt x="93955" y="179859"/>
                  </a:lnTo>
                  <a:lnTo>
                    <a:pt x="79042" y="179859"/>
                  </a:lnTo>
                  <a:cubicBezTo>
                    <a:pt x="77052" y="174466"/>
                    <a:pt x="72785" y="170168"/>
                    <a:pt x="67415" y="168132"/>
                  </a:cubicBezTo>
                  <a:close/>
                  <a:moveTo>
                    <a:pt x="13777" y="60394"/>
                  </a:moveTo>
                  <a:cubicBezTo>
                    <a:pt x="13777" y="34690"/>
                    <a:pt x="34688" y="13778"/>
                    <a:pt x="60392" y="13778"/>
                  </a:cubicBezTo>
                  <a:cubicBezTo>
                    <a:pt x="86097" y="13778"/>
                    <a:pt x="107008" y="34691"/>
                    <a:pt x="107008" y="60394"/>
                  </a:cubicBezTo>
                  <a:cubicBezTo>
                    <a:pt x="107008" y="80383"/>
                    <a:pt x="77114" y="129732"/>
                    <a:pt x="60392" y="155019"/>
                  </a:cubicBezTo>
                  <a:cubicBezTo>
                    <a:pt x="43671" y="129731"/>
                    <a:pt x="13777" y="80383"/>
                    <a:pt x="13777" y="60394"/>
                  </a:cubicBezTo>
                  <a:close/>
                  <a:moveTo>
                    <a:pt x="60392" y="193440"/>
                  </a:moveTo>
                  <a:cubicBezTo>
                    <a:pt x="56685" y="193440"/>
                    <a:pt x="53667" y="190423"/>
                    <a:pt x="53667" y="186714"/>
                  </a:cubicBezTo>
                  <a:cubicBezTo>
                    <a:pt x="53667" y="183006"/>
                    <a:pt x="56684" y="179990"/>
                    <a:pt x="60392" y="179990"/>
                  </a:cubicBezTo>
                  <a:cubicBezTo>
                    <a:pt x="64101" y="179990"/>
                    <a:pt x="67118" y="183007"/>
                    <a:pt x="67118" y="186714"/>
                  </a:cubicBezTo>
                  <a:cubicBezTo>
                    <a:pt x="67118" y="190423"/>
                    <a:pt x="64101" y="193440"/>
                    <a:pt x="60392" y="1934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" name="Полилиния: фигура 806">
              <a:extLst>
                <a:ext uri="{FF2B5EF4-FFF2-40B4-BE49-F238E27FC236}">
                  <a16:creationId xmlns="" xmlns:a16="http://schemas.microsoft.com/office/drawing/2014/main" id="{F30692FB-CB91-43D8-8602-6708C8CCDA54}"/>
                </a:ext>
              </a:extLst>
            </p:cNvPr>
            <p:cNvSpPr/>
            <p:nvPr/>
          </p:nvSpPr>
          <p:spPr>
            <a:xfrm>
              <a:off x="3045551" y="1324415"/>
              <a:ext cx="80156" cy="80156"/>
            </a:xfrm>
            <a:custGeom>
              <a:avLst/>
              <a:gdLst>
                <a:gd name="connsiteX0" fmla="*/ 40447 w 80156"/>
                <a:gd name="connsiteY0" fmla="*/ 633 h 80156"/>
                <a:gd name="connsiteX1" fmla="*/ 633 w 80156"/>
                <a:gd name="connsiteY1" fmla="*/ 40447 h 80156"/>
                <a:gd name="connsiteX2" fmla="*/ 40447 w 80156"/>
                <a:gd name="connsiteY2" fmla="*/ 80261 h 80156"/>
                <a:gd name="connsiteX3" fmla="*/ 80262 w 80156"/>
                <a:gd name="connsiteY3" fmla="*/ 40447 h 80156"/>
                <a:gd name="connsiteX4" fmla="*/ 40447 w 80156"/>
                <a:gd name="connsiteY4" fmla="*/ 633 h 80156"/>
                <a:gd name="connsiteX5" fmla="*/ 40447 w 80156"/>
                <a:gd name="connsiteY5" fmla="*/ 67117 h 80156"/>
                <a:gd name="connsiteX6" fmla="*/ 13777 w 80156"/>
                <a:gd name="connsiteY6" fmla="*/ 40447 h 80156"/>
                <a:gd name="connsiteX7" fmla="*/ 40447 w 80156"/>
                <a:gd name="connsiteY7" fmla="*/ 13777 h 80156"/>
                <a:gd name="connsiteX8" fmla="*/ 67118 w 80156"/>
                <a:gd name="connsiteY8" fmla="*/ 40447 h 80156"/>
                <a:gd name="connsiteX9" fmla="*/ 40447 w 80156"/>
                <a:gd name="connsiteY9" fmla="*/ 67117 h 80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56" h="80156">
                  <a:moveTo>
                    <a:pt x="40447" y="633"/>
                  </a:moveTo>
                  <a:cubicBezTo>
                    <a:pt x="18492" y="633"/>
                    <a:pt x="633" y="18494"/>
                    <a:pt x="633" y="40447"/>
                  </a:cubicBezTo>
                  <a:cubicBezTo>
                    <a:pt x="633" y="62401"/>
                    <a:pt x="18494" y="80261"/>
                    <a:pt x="40447" y="80261"/>
                  </a:cubicBezTo>
                  <a:cubicBezTo>
                    <a:pt x="62401" y="80261"/>
                    <a:pt x="80262" y="62400"/>
                    <a:pt x="80262" y="40447"/>
                  </a:cubicBezTo>
                  <a:cubicBezTo>
                    <a:pt x="80262" y="18492"/>
                    <a:pt x="62401" y="633"/>
                    <a:pt x="40447" y="633"/>
                  </a:cubicBezTo>
                  <a:close/>
                  <a:moveTo>
                    <a:pt x="40447" y="67117"/>
                  </a:moveTo>
                  <a:cubicBezTo>
                    <a:pt x="25739" y="67117"/>
                    <a:pt x="13777" y="55153"/>
                    <a:pt x="13777" y="40447"/>
                  </a:cubicBezTo>
                  <a:cubicBezTo>
                    <a:pt x="13777" y="25740"/>
                    <a:pt x="25740" y="13777"/>
                    <a:pt x="40447" y="13777"/>
                  </a:cubicBezTo>
                  <a:cubicBezTo>
                    <a:pt x="55153" y="13777"/>
                    <a:pt x="67118" y="25741"/>
                    <a:pt x="67118" y="40447"/>
                  </a:cubicBezTo>
                  <a:cubicBezTo>
                    <a:pt x="67118" y="55153"/>
                    <a:pt x="55154" y="67117"/>
                    <a:pt x="40447" y="671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" name="Полилиния: фигура 807">
              <a:extLst>
                <a:ext uri="{FF2B5EF4-FFF2-40B4-BE49-F238E27FC236}">
                  <a16:creationId xmlns="" xmlns:a16="http://schemas.microsoft.com/office/drawing/2014/main" id="{475FC0A1-AEF4-40D9-861D-257510BA8B86}"/>
                </a:ext>
              </a:extLst>
            </p:cNvPr>
            <p:cNvSpPr/>
            <p:nvPr/>
          </p:nvSpPr>
          <p:spPr>
            <a:xfrm>
              <a:off x="3078620" y="1410088"/>
              <a:ext cx="14344" cy="14344"/>
            </a:xfrm>
            <a:custGeom>
              <a:avLst/>
              <a:gdLst>
                <a:gd name="connsiteX0" fmla="*/ 633 w 14343"/>
                <a:gd name="connsiteY0" fmla="*/ 633 h 14343"/>
                <a:gd name="connsiteX1" fmla="*/ 13777 w 14343"/>
                <a:gd name="connsiteY1" fmla="*/ 633 h 14343"/>
                <a:gd name="connsiteX2" fmla="*/ 13777 w 14343"/>
                <a:gd name="connsiteY2" fmla="*/ 13777 h 14343"/>
                <a:gd name="connsiteX3" fmla="*/ 633 w 14343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14343">
                  <a:moveTo>
                    <a:pt x="633" y="633"/>
                  </a:moveTo>
                  <a:lnTo>
                    <a:pt x="13777" y="633"/>
                  </a:lnTo>
                  <a:lnTo>
                    <a:pt x="13777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" name="Полилиния: фигура 808">
              <a:extLst>
                <a:ext uri="{FF2B5EF4-FFF2-40B4-BE49-F238E27FC236}">
                  <a16:creationId xmlns="" xmlns:a16="http://schemas.microsoft.com/office/drawing/2014/main" id="{0649BC74-B22A-485B-98FE-33C1F6D7B7A5}"/>
                </a:ext>
              </a:extLst>
            </p:cNvPr>
            <p:cNvSpPr/>
            <p:nvPr/>
          </p:nvSpPr>
          <p:spPr>
            <a:xfrm>
              <a:off x="3065495" y="1344361"/>
              <a:ext cx="40500" cy="40500"/>
            </a:xfrm>
            <a:custGeom>
              <a:avLst/>
              <a:gdLst>
                <a:gd name="connsiteX0" fmla="*/ 20502 w 40500"/>
                <a:gd name="connsiteY0" fmla="*/ 633 h 40500"/>
                <a:gd name="connsiteX1" fmla="*/ 633 w 40500"/>
                <a:gd name="connsiteY1" fmla="*/ 20501 h 40500"/>
                <a:gd name="connsiteX2" fmla="*/ 20502 w 40500"/>
                <a:gd name="connsiteY2" fmla="*/ 40371 h 40500"/>
                <a:gd name="connsiteX3" fmla="*/ 40372 w 40500"/>
                <a:gd name="connsiteY3" fmla="*/ 20501 h 40500"/>
                <a:gd name="connsiteX4" fmla="*/ 20502 w 40500"/>
                <a:gd name="connsiteY4" fmla="*/ 633 h 40500"/>
                <a:gd name="connsiteX5" fmla="*/ 20502 w 40500"/>
                <a:gd name="connsiteY5" fmla="*/ 27227 h 40500"/>
                <a:gd name="connsiteX6" fmla="*/ 13777 w 40500"/>
                <a:gd name="connsiteY6" fmla="*/ 20501 h 40500"/>
                <a:gd name="connsiteX7" fmla="*/ 20502 w 40500"/>
                <a:gd name="connsiteY7" fmla="*/ 13777 h 40500"/>
                <a:gd name="connsiteX8" fmla="*/ 27228 w 40500"/>
                <a:gd name="connsiteY8" fmla="*/ 20501 h 40500"/>
                <a:gd name="connsiteX9" fmla="*/ 20502 w 40500"/>
                <a:gd name="connsiteY9" fmla="*/ 27227 h 4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500" h="40500">
                  <a:moveTo>
                    <a:pt x="20502" y="633"/>
                  </a:moveTo>
                  <a:cubicBezTo>
                    <a:pt x="9546" y="633"/>
                    <a:pt x="633" y="9546"/>
                    <a:pt x="633" y="20501"/>
                  </a:cubicBezTo>
                  <a:cubicBezTo>
                    <a:pt x="633" y="31458"/>
                    <a:pt x="9546" y="40371"/>
                    <a:pt x="20502" y="40371"/>
                  </a:cubicBezTo>
                  <a:cubicBezTo>
                    <a:pt x="31458" y="40370"/>
                    <a:pt x="40372" y="31458"/>
                    <a:pt x="40372" y="20501"/>
                  </a:cubicBezTo>
                  <a:cubicBezTo>
                    <a:pt x="40372" y="9546"/>
                    <a:pt x="31458" y="633"/>
                    <a:pt x="20502" y="633"/>
                  </a:cubicBezTo>
                  <a:close/>
                  <a:moveTo>
                    <a:pt x="20502" y="27227"/>
                  </a:moveTo>
                  <a:cubicBezTo>
                    <a:pt x="16795" y="27226"/>
                    <a:pt x="13777" y="24210"/>
                    <a:pt x="13777" y="20501"/>
                  </a:cubicBezTo>
                  <a:cubicBezTo>
                    <a:pt x="13777" y="16794"/>
                    <a:pt x="16794" y="13777"/>
                    <a:pt x="20502" y="13777"/>
                  </a:cubicBezTo>
                  <a:cubicBezTo>
                    <a:pt x="24211" y="13777"/>
                    <a:pt x="27228" y="16794"/>
                    <a:pt x="27228" y="20501"/>
                  </a:cubicBezTo>
                  <a:cubicBezTo>
                    <a:pt x="27228" y="24210"/>
                    <a:pt x="24211" y="27227"/>
                    <a:pt x="20502" y="2722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" name="Полилиния: фигура 809">
              <a:extLst>
                <a:ext uri="{FF2B5EF4-FFF2-40B4-BE49-F238E27FC236}">
                  <a16:creationId xmlns="" xmlns:a16="http://schemas.microsoft.com/office/drawing/2014/main" id="{7471B3FC-C64D-4351-AC3D-574E8CAA4F51}"/>
                </a:ext>
              </a:extLst>
            </p:cNvPr>
            <p:cNvSpPr/>
            <p:nvPr/>
          </p:nvSpPr>
          <p:spPr>
            <a:xfrm>
              <a:off x="3338086" y="1098365"/>
              <a:ext cx="120656" cy="206719"/>
            </a:xfrm>
            <a:custGeom>
              <a:avLst/>
              <a:gdLst>
                <a:gd name="connsiteX0" fmla="*/ 120152 w 120656"/>
                <a:gd name="connsiteY0" fmla="*/ 60393 h 206718"/>
                <a:gd name="connsiteX1" fmla="*/ 60392 w 120656"/>
                <a:gd name="connsiteY1" fmla="*/ 633 h 206718"/>
                <a:gd name="connsiteX2" fmla="*/ 633 w 120656"/>
                <a:gd name="connsiteY2" fmla="*/ 60393 h 206718"/>
                <a:gd name="connsiteX3" fmla="*/ 53362 w 120656"/>
                <a:gd name="connsiteY3" fmla="*/ 168135 h 206718"/>
                <a:gd name="connsiteX4" fmla="*/ 41681 w 120656"/>
                <a:gd name="connsiteY4" fmla="*/ 180039 h 206718"/>
                <a:gd name="connsiteX5" fmla="*/ 26830 w 120656"/>
                <a:gd name="connsiteY5" fmla="*/ 180039 h 206718"/>
                <a:gd name="connsiteX6" fmla="*/ 26830 w 120656"/>
                <a:gd name="connsiteY6" fmla="*/ 193183 h 206718"/>
                <a:gd name="connsiteX7" fmla="*/ 41610 w 120656"/>
                <a:gd name="connsiteY7" fmla="*/ 193183 h 206718"/>
                <a:gd name="connsiteX8" fmla="*/ 60392 w 120656"/>
                <a:gd name="connsiteY8" fmla="*/ 206585 h 206718"/>
                <a:gd name="connsiteX9" fmla="*/ 80262 w 120656"/>
                <a:gd name="connsiteY9" fmla="*/ 186716 h 206718"/>
                <a:gd name="connsiteX10" fmla="*/ 67415 w 120656"/>
                <a:gd name="connsiteY10" fmla="*/ 168132 h 206718"/>
                <a:gd name="connsiteX11" fmla="*/ 92672 w 120656"/>
                <a:gd name="connsiteY11" fmla="*/ 127896 h 206718"/>
                <a:gd name="connsiteX12" fmla="*/ 120152 w 120656"/>
                <a:gd name="connsiteY12" fmla="*/ 60393 h 206718"/>
                <a:gd name="connsiteX13" fmla="*/ 60392 w 120656"/>
                <a:gd name="connsiteY13" fmla="*/ 193440 h 206718"/>
                <a:gd name="connsiteX14" fmla="*/ 53667 w 120656"/>
                <a:gd name="connsiteY14" fmla="*/ 186715 h 206718"/>
                <a:gd name="connsiteX15" fmla="*/ 60392 w 120656"/>
                <a:gd name="connsiteY15" fmla="*/ 179990 h 206718"/>
                <a:gd name="connsiteX16" fmla="*/ 67118 w 120656"/>
                <a:gd name="connsiteY16" fmla="*/ 186715 h 206718"/>
                <a:gd name="connsiteX17" fmla="*/ 60392 w 120656"/>
                <a:gd name="connsiteY17" fmla="*/ 193440 h 206718"/>
                <a:gd name="connsiteX18" fmla="*/ 60392 w 120656"/>
                <a:gd name="connsiteY18" fmla="*/ 155017 h 206718"/>
                <a:gd name="connsiteX19" fmla="*/ 13777 w 120656"/>
                <a:gd name="connsiteY19" fmla="*/ 60393 h 206718"/>
                <a:gd name="connsiteX20" fmla="*/ 60392 w 120656"/>
                <a:gd name="connsiteY20" fmla="*/ 13777 h 206718"/>
                <a:gd name="connsiteX21" fmla="*/ 107008 w 120656"/>
                <a:gd name="connsiteY21" fmla="*/ 60393 h 206718"/>
                <a:gd name="connsiteX22" fmla="*/ 60392 w 120656"/>
                <a:gd name="connsiteY22" fmla="*/ 155017 h 206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0656" h="206718">
                  <a:moveTo>
                    <a:pt x="120152" y="60393"/>
                  </a:moveTo>
                  <a:cubicBezTo>
                    <a:pt x="120152" y="27441"/>
                    <a:pt x="93343" y="633"/>
                    <a:pt x="60392" y="633"/>
                  </a:cubicBezTo>
                  <a:cubicBezTo>
                    <a:pt x="27441" y="633"/>
                    <a:pt x="633" y="27441"/>
                    <a:pt x="633" y="60393"/>
                  </a:cubicBezTo>
                  <a:cubicBezTo>
                    <a:pt x="633" y="88938"/>
                    <a:pt x="43248" y="153271"/>
                    <a:pt x="53362" y="168135"/>
                  </a:cubicBezTo>
                  <a:cubicBezTo>
                    <a:pt x="47936" y="170195"/>
                    <a:pt x="43640" y="174564"/>
                    <a:pt x="41681" y="180039"/>
                  </a:cubicBezTo>
                  <a:lnTo>
                    <a:pt x="26830" y="180039"/>
                  </a:lnTo>
                  <a:lnTo>
                    <a:pt x="26830" y="193183"/>
                  </a:lnTo>
                  <a:lnTo>
                    <a:pt x="41610" y="193183"/>
                  </a:lnTo>
                  <a:cubicBezTo>
                    <a:pt x="44299" y="200973"/>
                    <a:pt x="51701" y="206585"/>
                    <a:pt x="60392" y="206585"/>
                  </a:cubicBezTo>
                  <a:cubicBezTo>
                    <a:pt x="71348" y="206585"/>
                    <a:pt x="80262" y="197671"/>
                    <a:pt x="80262" y="186716"/>
                  </a:cubicBezTo>
                  <a:cubicBezTo>
                    <a:pt x="80262" y="178232"/>
                    <a:pt x="74915" y="170976"/>
                    <a:pt x="67415" y="168132"/>
                  </a:cubicBezTo>
                  <a:cubicBezTo>
                    <a:pt x="71383" y="162257"/>
                    <a:pt x="82084" y="146147"/>
                    <a:pt x="92672" y="127896"/>
                  </a:cubicBezTo>
                  <a:cubicBezTo>
                    <a:pt x="110905" y="96458"/>
                    <a:pt x="120152" y="73748"/>
                    <a:pt x="120152" y="60393"/>
                  </a:cubicBezTo>
                  <a:close/>
                  <a:moveTo>
                    <a:pt x="60392" y="193440"/>
                  </a:moveTo>
                  <a:cubicBezTo>
                    <a:pt x="56685" y="193440"/>
                    <a:pt x="53667" y="190423"/>
                    <a:pt x="53667" y="186715"/>
                  </a:cubicBezTo>
                  <a:cubicBezTo>
                    <a:pt x="53667" y="183007"/>
                    <a:pt x="56684" y="179990"/>
                    <a:pt x="60392" y="179990"/>
                  </a:cubicBezTo>
                  <a:cubicBezTo>
                    <a:pt x="64100" y="179990"/>
                    <a:pt x="67118" y="183007"/>
                    <a:pt x="67118" y="186715"/>
                  </a:cubicBezTo>
                  <a:cubicBezTo>
                    <a:pt x="67117" y="190423"/>
                    <a:pt x="64100" y="193440"/>
                    <a:pt x="60392" y="193440"/>
                  </a:cubicBezTo>
                  <a:close/>
                  <a:moveTo>
                    <a:pt x="60392" y="155017"/>
                  </a:moveTo>
                  <a:cubicBezTo>
                    <a:pt x="43671" y="129730"/>
                    <a:pt x="13777" y="80382"/>
                    <a:pt x="13777" y="60393"/>
                  </a:cubicBezTo>
                  <a:cubicBezTo>
                    <a:pt x="13777" y="34688"/>
                    <a:pt x="34688" y="13777"/>
                    <a:pt x="60392" y="13777"/>
                  </a:cubicBezTo>
                  <a:cubicBezTo>
                    <a:pt x="86097" y="13777"/>
                    <a:pt x="107008" y="34689"/>
                    <a:pt x="107008" y="60393"/>
                  </a:cubicBezTo>
                  <a:cubicBezTo>
                    <a:pt x="107008" y="80382"/>
                    <a:pt x="77114" y="129730"/>
                    <a:pt x="60392" y="1550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" name="Полилиния: фигура 810">
              <a:extLst>
                <a:ext uri="{FF2B5EF4-FFF2-40B4-BE49-F238E27FC236}">
                  <a16:creationId xmlns="" xmlns:a16="http://schemas.microsoft.com/office/drawing/2014/main" id="{51B059D7-C4E1-4FDE-9F73-3B856E33EEF5}"/>
                </a:ext>
              </a:extLst>
            </p:cNvPr>
            <p:cNvSpPr/>
            <p:nvPr/>
          </p:nvSpPr>
          <p:spPr>
            <a:xfrm>
              <a:off x="3358031" y="1118311"/>
              <a:ext cx="80156" cy="80156"/>
            </a:xfrm>
            <a:custGeom>
              <a:avLst/>
              <a:gdLst>
                <a:gd name="connsiteX0" fmla="*/ 40448 w 80156"/>
                <a:gd name="connsiteY0" fmla="*/ 633 h 80156"/>
                <a:gd name="connsiteX1" fmla="*/ 633 w 80156"/>
                <a:gd name="connsiteY1" fmla="*/ 40447 h 80156"/>
                <a:gd name="connsiteX2" fmla="*/ 40448 w 80156"/>
                <a:gd name="connsiteY2" fmla="*/ 80262 h 80156"/>
                <a:gd name="connsiteX3" fmla="*/ 80263 w 80156"/>
                <a:gd name="connsiteY3" fmla="*/ 40447 h 80156"/>
                <a:gd name="connsiteX4" fmla="*/ 40448 w 80156"/>
                <a:gd name="connsiteY4" fmla="*/ 633 h 80156"/>
                <a:gd name="connsiteX5" fmla="*/ 40448 w 80156"/>
                <a:gd name="connsiteY5" fmla="*/ 67118 h 80156"/>
                <a:gd name="connsiteX6" fmla="*/ 13777 w 80156"/>
                <a:gd name="connsiteY6" fmla="*/ 40447 h 80156"/>
                <a:gd name="connsiteX7" fmla="*/ 40448 w 80156"/>
                <a:gd name="connsiteY7" fmla="*/ 13777 h 80156"/>
                <a:gd name="connsiteX8" fmla="*/ 67119 w 80156"/>
                <a:gd name="connsiteY8" fmla="*/ 40447 h 80156"/>
                <a:gd name="connsiteX9" fmla="*/ 40448 w 80156"/>
                <a:gd name="connsiteY9" fmla="*/ 67118 h 80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56" h="80156">
                  <a:moveTo>
                    <a:pt x="40448" y="633"/>
                  </a:moveTo>
                  <a:cubicBezTo>
                    <a:pt x="18493" y="633"/>
                    <a:pt x="633" y="18494"/>
                    <a:pt x="633" y="40447"/>
                  </a:cubicBezTo>
                  <a:cubicBezTo>
                    <a:pt x="633" y="62401"/>
                    <a:pt x="18494" y="80262"/>
                    <a:pt x="40448" y="80262"/>
                  </a:cubicBezTo>
                  <a:cubicBezTo>
                    <a:pt x="62402" y="80262"/>
                    <a:pt x="80263" y="62400"/>
                    <a:pt x="80263" y="40447"/>
                  </a:cubicBezTo>
                  <a:cubicBezTo>
                    <a:pt x="80262" y="18493"/>
                    <a:pt x="62400" y="633"/>
                    <a:pt x="40448" y="633"/>
                  </a:cubicBezTo>
                  <a:close/>
                  <a:moveTo>
                    <a:pt x="40448" y="67118"/>
                  </a:moveTo>
                  <a:cubicBezTo>
                    <a:pt x="25741" y="67118"/>
                    <a:pt x="13777" y="55153"/>
                    <a:pt x="13777" y="40447"/>
                  </a:cubicBezTo>
                  <a:cubicBezTo>
                    <a:pt x="13777" y="25740"/>
                    <a:pt x="25740" y="13777"/>
                    <a:pt x="40448" y="13777"/>
                  </a:cubicBezTo>
                  <a:cubicBezTo>
                    <a:pt x="55155" y="13777"/>
                    <a:pt x="67119" y="25741"/>
                    <a:pt x="67119" y="40447"/>
                  </a:cubicBezTo>
                  <a:cubicBezTo>
                    <a:pt x="67118" y="55153"/>
                    <a:pt x="55153" y="67118"/>
                    <a:pt x="40448" y="671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" name="Полилиния: фигура 811">
              <a:extLst>
                <a:ext uri="{FF2B5EF4-FFF2-40B4-BE49-F238E27FC236}">
                  <a16:creationId xmlns="" xmlns:a16="http://schemas.microsoft.com/office/drawing/2014/main" id="{E0056D49-D2BC-46E4-B63F-FE91F330E96A}"/>
                </a:ext>
              </a:extLst>
            </p:cNvPr>
            <p:cNvSpPr/>
            <p:nvPr/>
          </p:nvSpPr>
          <p:spPr>
            <a:xfrm>
              <a:off x="3391447" y="1205041"/>
              <a:ext cx="14344" cy="14344"/>
            </a:xfrm>
            <a:custGeom>
              <a:avLst/>
              <a:gdLst>
                <a:gd name="connsiteX0" fmla="*/ 633 w 14343"/>
                <a:gd name="connsiteY0" fmla="*/ 633 h 14343"/>
                <a:gd name="connsiteX1" fmla="*/ 13777 w 14343"/>
                <a:gd name="connsiteY1" fmla="*/ 633 h 14343"/>
                <a:gd name="connsiteX2" fmla="*/ 13777 w 14343"/>
                <a:gd name="connsiteY2" fmla="*/ 13777 h 14343"/>
                <a:gd name="connsiteX3" fmla="*/ 633 w 14343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14343">
                  <a:moveTo>
                    <a:pt x="633" y="633"/>
                  </a:moveTo>
                  <a:lnTo>
                    <a:pt x="13777" y="633"/>
                  </a:lnTo>
                  <a:lnTo>
                    <a:pt x="13777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" name="Полилиния: фигура 812">
              <a:extLst>
                <a:ext uri="{FF2B5EF4-FFF2-40B4-BE49-F238E27FC236}">
                  <a16:creationId xmlns="" xmlns:a16="http://schemas.microsoft.com/office/drawing/2014/main" id="{5DF1CFDA-E86C-49FD-BEC9-E72DE8706159}"/>
                </a:ext>
              </a:extLst>
            </p:cNvPr>
            <p:cNvSpPr/>
            <p:nvPr/>
          </p:nvSpPr>
          <p:spPr>
            <a:xfrm>
              <a:off x="3377976" y="1138256"/>
              <a:ext cx="40500" cy="40500"/>
            </a:xfrm>
            <a:custGeom>
              <a:avLst/>
              <a:gdLst>
                <a:gd name="connsiteX0" fmla="*/ 20502 w 40500"/>
                <a:gd name="connsiteY0" fmla="*/ 633 h 40500"/>
                <a:gd name="connsiteX1" fmla="*/ 633 w 40500"/>
                <a:gd name="connsiteY1" fmla="*/ 20502 h 40500"/>
                <a:gd name="connsiteX2" fmla="*/ 20502 w 40500"/>
                <a:gd name="connsiteY2" fmla="*/ 40371 h 40500"/>
                <a:gd name="connsiteX3" fmla="*/ 40372 w 40500"/>
                <a:gd name="connsiteY3" fmla="*/ 20502 h 40500"/>
                <a:gd name="connsiteX4" fmla="*/ 20502 w 40500"/>
                <a:gd name="connsiteY4" fmla="*/ 633 h 40500"/>
                <a:gd name="connsiteX5" fmla="*/ 20502 w 40500"/>
                <a:gd name="connsiteY5" fmla="*/ 27227 h 40500"/>
                <a:gd name="connsiteX6" fmla="*/ 13777 w 40500"/>
                <a:gd name="connsiteY6" fmla="*/ 20502 h 40500"/>
                <a:gd name="connsiteX7" fmla="*/ 20502 w 40500"/>
                <a:gd name="connsiteY7" fmla="*/ 13777 h 40500"/>
                <a:gd name="connsiteX8" fmla="*/ 27228 w 40500"/>
                <a:gd name="connsiteY8" fmla="*/ 20502 h 40500"/>
                <a:gd name="connsiteX9" fmla="*/ 20502 w 40500"/>
                <a:gd name="connsiteY9" fmla="*/ 27227 h 4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500" h="40500">
                  <a:moveTo>
                    <a:pt x="20502" y="633"/>
                  </a:moveTo>
                  <a:cubicBezTo>
                    <a:pt x="9546" y="633"/>
                    <a:pt x="633" y="9546"/>
                    <a:pt x="633" y="20502"/>
                  </a:cubicBezTo>
                  <a:cubicBezTo>
                    <a:pt x="633" y="31458"/>
                    <a:pt x="9546" y="40371"/>
                    <a:pt x="20502" y="40371"/>
                  </a:cubicBezTo>
                  <a:cubicBezTo>
                    <a:pt x="31458" y="40371"/>
                    <a:pt x="40372" y="31458"/>
                    <a:pt x="40372" y="20502"/>
                  </a:cubicBezTo>
                  <a:cubicBezTo>
                    <a:pt x="40372" y="9546"/>
                    <a:pt x="31458" y="633"/>
                    <a:pt x="20502" y="633"/>
                  </a:cubicBezTo>
                  <a:close/>
                  <a:moveTo>
                    <a:pt x="20502" y="27227"/>
                  </a:moveTo>
                  <a:cubicBezTo>
                    <a:pt x="16795" y="27227"/>
                    <a:pt x="13777" y="24210"/>
                    <a:pt x="13777" y="20502"/>
                  </a:cubicBezTo>
                  <a:cubicBezTo>
                    <a:pt x="13777" y="16794"/>
                    <a:pt x="16794" y="13777"/>
                    <a:pt x="20502" y="13777"/>
                  </a:cubicBezTo>
                  <a:cubicBezTo>
                    <a:pt x="24210" y="13777"/>
                    <a:pt x="27228" y="16794"/>
                    <a:pt x="27228" y="20502"/>
                  </a:cubicBezTo>
                  <a:cubicBezTo>
                    <a:pt x="27227" y="24210"/>
                    <a:pt x="24210" y="27227"/>
                    <a:pt x="20502" y="2722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" name="Полилиния: фигура 813">
              <a:extLst>
                <a:ext uri="{FF2B5EF4-FFF2-40B4-BE49-F238E27FC236}">
                  <a16:creationId xmlns="" xmlns:a16="http://schemas.microsoft.com/office/drawing/2014/main" id="{C78F8FC5-3FD5-4203-8518-7EB081B5CA0F}"/>
                </a:ext>
              </a:extLst>
            </p:cNvPr>
            <p:cNvSpPr/>
            <p:nvPr/>
          </p:nvSpPr>
          <p:spPr>
            <a:xfrm>
              <a:off x="3131195" y="1483694"/>
              <a:ext cx="21938" cy="14344"/>
            </a:xfrm>
            <a:custGeom>
              <a:avLst/>
              <a:gdLst>
                <a:gd name="connsiteX0" fmla="*/ 633 w 21937"/>
                <a:gd name="connsiteY0" fmla="*/ 633 h 14343"/>
                <a:gd name="connsiteX1" fmla="*/ 21663 w 21937"/>
                <a:gd name="connsiteY1" fmla="*/ 633 h 14343"/>
                <a:gd name="connsiteX2" fmla="*/ 21663 w 21937"/>
                <a:gd name="connsiteY2" fmla="*/ 13777 h 14343"/>
                <a:gd name="connsiteX3" fmla="*/ 633 w 21937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37" h="14343">
                  <a:moveTo>
                    <a:pt x="633" y="633"/>
                  </a:moveTo>
                  <a:lnTo>
                    <a:pt x="21663" y="633"/>
                  </a:lnTo>
                  <a:lnTo>
                    <a:pt x="21663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" name="Полилиния: фигура 814">
              <a:extLst>
                <a:ext uri="{FF2B5EF4-FFF2-40B4-BE49-F238E27FC236}">
                  <a16:creationId xmlns="" xmlns:a16="http://schemas.microsoft.com/office/drawing/2014/main" id="{242D5ECC-1C31-46A4-B95A-C1D078AB7086}"/>
                </a:ext>
              </a:extLst>
            </p:cNvPr>
            <p:cNvSpPr/>
            <p:nvPr/>
          </p:nvSpPr>
          <p:spPr>
            <a:xfrm>
              <a:off x="3165370" y="1483694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" name="Полилиния: фигура 815">
              <a:extLst>
                <a:ext uri="{FF2B5EF4-FFF2-40B4-BE49-F238E27FC236}">
                  <a16:creationId xmlns="" xmlns:a16="http://schemas.microsoft.com/office/drawing/2014/main" id="{9DDF3BEF-3FA0-4D73-8D83-D8199DFD4C9B}"/>
                </a:ext>
              </a:extLst>
            </p:cNvPr>
            <p:cNvSpPr/>
            <p:nvPr/>
          </p:nvSpPr>
          <p:spPr>
            <a:xfrm>
              <a:off x="3197792" y="1483694"/>
              <a:ext cx="21938" cy="14344"/>
            </a:xfrm>
            <a:custGeom>
              <a:avLst/>
              <a:gdLst>
                <a:gd name="connsiteX0" fmla="*/ 633 w 21937"/>
                <a:gd name="connsiteY0" fmla="*/ 633 h 14343"/>
                <a:gd name="connsiteX1" fmla="*/ 21663 w 21937"/>
                <a:gd name="connsiteY1" fmla="*/ 633 h 14343"/>
                <a:gd name="connsiteX2" fmla="*/ 21663 w 21937"/>
                <a:gd name="connsiteY2" fmla="*/ 13777 h 14343"/>
                <a:gd name="connsiteX3" fmla="*/ 633 w 21937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37" h="14343">
                  <a:moveTo>
                    <a:pt x="633" y="633"/>
                  </a:moveTo>
                  <a:lnTo>
                    <a:pt x="21663" y="633"/>
                  </a:lnTo>
                  <a:lnTo>
                    <a:pt x="21663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" name="Полилиния: фигура 816">
              <a:extLst>
                <a:ext uri="{FF2B5EF4-FFF2-40B4-BE49-F238E27FC236}">
                  <a16:creationId xmlns="" xmlns:a16="http://schemas.microsoft.com/office/drawing/2014/main" id="{3469BA95-4485-44AD-9003-EA68ABE982B4}"/>
                </a:ext>
              </a:extLst>
            </p:cNvPr>
            <p:cNvSpPr/>
            <p:nvPr/>
          </p:nvSpPr>
          <p:spPr>
            <a:xfrm>
              <a:off x="3231966" y="1483694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" name="Полилиния: фигура 817">
              <a:extLst>
                <a:ext uri="{FF2B5EF4-FFF2-40B4-BE49-F238E27FC236}">
                  <a16:creationId xmlns="" xmlns:a16="http://schemas.microsoft.com/office/drawing/2014/main" id="{64998857-CC2C-460B-B8B3-D13B45DC6C2C}"/>
                </a:ext>
              </a:extLst>
            </p:cNvPr>
            <p:cNvSpPr/>
            <p:nvPr/>
          </p:nvSpPr>
          <p:spPr>
            <a:xfrm>
              <a:off x="3264388" y="1483694"/>
              <a:ext cx="21938" cy="14344"/>
            </a:xfrm>
            <a:custGeom>
              <a:avLst/>
              <a:gdLst>
                <a:gd name="connsiteX0" fmla="*/ 633 w 21937"/>
                <a:gd name="connsiteY0" fmla="*/ 633 h 14343"/>
                <a:gd name="connsiteX1" fmla="*/ 21663 w 21937"/>
                <a:gd name="connsiteY1" fmla="*/ 633 h 14343"/>
                <a:gd name="connsiteX2" fmla="*/ 21663 w 21937"/>
                <a:gd name="connsiteY2" fmla="*/ 13777 h 14343"/>
                <a:gd name="connsiteX3" fmla="*/ 633 w 21937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37" h="14343">
                  <a:moveTo>
                    <a:pt x="633" y="633"/>
                  </a:moveTo>
                  <a:lnTo>
                    <a:pt x="21663" y="633"/>
                  </a:lnTo>
                  <a:lnTo>
                    <a:pt x="21663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" name="Полилиния: фигура 818">
              <a:extLst>
                <a:ext uri="{FF2B5EF4-FFF2-40B4-BE49-F238E27FC236}">
                  <a16:creationId xmlns="" xmlns:a16="http://schemas.microsoft.com/office/drawing/2014/main" id="{6D73ABC0-F366-412C-9648-684AB841DF3B}"/>
                </a:ext>
              </a:extLst>
            </p:cNvPr>
            <p:cNvSpPr/>
            <p:nvPr/>
          </p:nvSpPr>
          <p:spPr>
            <a:xfrm>
              <a:off x="3298563" y="1483694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" name="Полилиния: фигура 819">
              <a:extLst>
                <a:ext uri="{FF2B5EF4-FFF2-40B4-BE49-F238E27FC236}">
                  <a16:creationId xmlns="" xmlns:a16="http://schemas.microsoft.com/office/drawing/2014/main" id="{C61F278F-FB5D-427E-B888-B9A28533A4AE}"/>
                </a:ext>
              </a:extLst>
            </p:cNvPr>
            <p:cNvSpPr/>
            <p:nvPr/>
          </p:nvSpPr>
          <p:spPr>
            <a:xfrm>
              <a:off x="3330984" y="1471425"/>
              <a:ext cx="27844" cy="26156"/>
            </a:xfrm>
            <a:custGeom>
              <a:avLst/>
              <a:gdLst>
                <a:gd name="connsiteX0" fmla="*/ 14653 w 27843"/>
                <a:gd name="connsiteY0" fmla="*/ 633 h 26156"/>
                <a:gd name="connsiteX1" fmla="*/ 14653 w 27843"/>
                <a:gd name="connsiteY1" fmla="*/ 12901 h 26156"/>
                <a:gd name="connsiteX2" fmla="*/ 633 w 27843"/>
                <a:gd name="connsiteY2" fmla="*/ 12901 h 26156"/>
                <a:gd name="connsiteX3" fmla="*/ 633 w 27843"/>
                <a:gd name="connsiteY3" fmla="*/ 26045 h 26156"/>
                <a:gd name="connsiteX4" fmla="*/ 27797 w 27843"/>
                <a:gd name="connsiteY4" fmla="*/ 26045 h 26156"/>
                <a:gd name="connsiteX5" fmla="*/ 27797 w 27843"/>
                <a:gd name="connsiteY5" fmla="*/ 633 h 2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6156">
                  <a:moveTo>
                    <a:pt x="14653" y="633"/>
                  </a:moveTo>
                  <a:lnTo>
                    <a:pt x="14653" y="12901"/>
                  </a:lnTo>
                  <a:lnTo>
                    <a:pt x="633" y="12901"/>
                  </a:lnTo>
                  <a:lnTo>
                    <a:pt x="633" y="26045"/>
                  </a:lnTo>
                  <a:lnTo>
                    <a:pt x="27797" y="26045"/>
                  </a:lnTo>
                  <a:lnTo>
                    <a:pt x="27797" y="6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" name="Полилиния: фигура 820">
              <a:extLst>
                <a:ext uri="{FF2B5EF4-FFF2-40B4-BE49-F238E27FC236}">
                  <a16:creationId xmlns="" xmlns:a16="http://schemas.microsoft.com/office/drawing/2014/main" id="{6BAB3F6E-7AF2-4900-A0AF-F6A9371E0698}"/>
                </a:ext>
              </a:extLst>
            </p:cNvPr>
            <p:cNvSpPr/>
            <p:nvPr/>
          </p:nvSpPr>
          <p:spPr>
            <a:xfrm>
              <a:off x="3345005" y="1437252"/>
              <a:ext cx="14344" cy="21094"/>
            </a:xfrm>
            <a:custGeom>
              <a:avLst/>
              <a:gdLst>
                <a:gd name="connsiteX0" fmla="*/ 633 w 14343"/>
                <a:gd name="connsiteY0" fmla="*/ 633 h 21093"/>
                <a:gd name="connsiteX1" fmla="*/ 13777 w 14343"/>
                <a:gd name="connsiteY1" fmla="*/ 633 h 21093"/>
                <a:gd name="connsiteX2" fmla="*/ 13777 w 14343"/>
                <a:gd name="connsiteY2" fmla="*/ 20787 h 21093"/>
                <a:gd name="connsiteX3" fmla="*/ 633 w 14343"/>
                <a:gd name="connsiteY3" fmla="*/ 20787 h 21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1093">
                  <a:moveTo>
                    <a:pt x="633" y="633"/>
                  </a:moveTo>
                  <a:lnTo>
                    <a:pt x="13777" y="633"/>
                  </a:lnTo>
                  <a:lnTo>
                    <a:pt x="13777" y="20787"/>
                  </a:lnTo>
                  <a:lnTo>
                    <a:pt x="633" y="207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" name="Полилиния: фигура 821">
              <a:extLst>
                <a:ext uri="{FF2B5EF4-FFF2-40B4-BE49-F238E27FC236}">
                  <a16:creationId xmlns="" xmlns:a16="http://schemas.microsoft.com/office/drawing/2014/main" id="{3CA13BC6-3AB9-4FDF-8402-06B63945B1D6}"/>
                </a:ext>
              </a:extLst>
            </p:cNvPr>
            <p:cNvSpPr/>
            <p:nvPr/>
          </p:nvSpPr>
          <p:spPr>
            <a:xfrm>
              <a:off x="3345005" y="1404830"/>
              <a:ext cx="14344" cy="20250"/>
            </a:xfrm>
            <a:custGeom>
              <a:avLst/>
              <a:gdLst>
                <a:gd name="connsiteX0" fmla="*/ 633 w 14343"/>
                <a:gd name="connsiteY0" fmla="*/ 633 h 20250"/>
                <a:gd name="connsiteX1" fmla="*/ 13777 w 14343"/>
                <a:gd name="connsiteY1" fmla="*/ 633 h 20250"/>
                <a:gd name="connsiteX2" fmla="*/ 13777 w 14343"/>
                <a:gd name="connsiteY2" fmla="*/ 19911 h 20250"/>
                <a:gd name="connsiteX3" fmla="*/ 633 w 14343"/>
                <a:gd name="connsiteY3" fmla="*/ 19911 h 2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0250">
                  <a:moveTo>
                    <a:pt x="633" y="633"/>
                  </a:moveTo>
                  <a:lnTo>
                    <a:pt x="13777" y="633"/>
                  </a:lnTo>
                  <a:lnTo>
                    <a:pt x="13777" y="19911"/>
                  </a:lnTo>
                  <a:lnTo>
                    <a:pt x="633" y="1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" name="Полилиния: фигура 822">
              <a:extLst>
                <a:ext uri="{FF2B5EF4-FFF2-40B4-BE49-F238E27FC236}">
                  <a16:creationId xmlns="" xmlns:a16="http://schemas.microsoft.com/office/drawing/2014/main" id="{D055B1BF-2D21-46C9-AAE6-CB28C63C047C}"/>
                </a:ext>
              </a:extLst>
            </p:cNvPr>
            <p:cNvSpPr/>
            <p:nvPr/>
          </p:nvSpPr>
          <p:spPr>
            <a:xfrm>
              <a:off x="3330984" y="1364521"/>
              <a:ext cx="27844" cy="27000"/>
            </a:xfrm>
            <a:custGeom>
              <a:avLst/>
              <a:gdLst>
                <a:gd name="connsiteX0" fmla="*/ 633 w 27843"/>
                <a:gd name="connsiteY0" fmla="*/ 633 h 27000"/>
                <a:gd name="connsiteX1" fmla="*/ 633 w 27843"/>
                <a:gd name="connsiteY1" fmla="*/ 13777 h 27000"/>
                <a:gd name="connsiteX2" fmla="*/ 14653 w 27843"/>
                <a:gd name="connsiteY2" fmla="*/ 13777 h 27000"/>
                <a:gd name="connsiteX3" fmla="*/ 14653 w 27843"/>
                <a:gd name="connsiteY3" fmla="*/ 26921 h 27000"/>
                <a:gd name="connsiteX4" fmla="*/ 27797 w 27843"/>
                <a:gd name="connsiteY4" fmla="*/ 26921 h 27000"/>
                <a:gd name="connsiteX5" fmla="*/ 27797 w 27843"/>
                <a:gd name="connsiteY5" fmla="*/ 633 h 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000">
                  <a:moveTo>
                    <a:pt x="633" y="633"/>
                  </a:moveTo>
                  <a:lnTo>
                    <a:pt x="633" y="13777"/>
                  </a:lnTo>
                  <a:lnTo>
                    <a:pt x="14653" y="13777"/>
                  </a:lnTo>
                  <a:lnTo>
                    <a:pt x="14653" y="26921"/>
                  </a:lnTo>
                  <a:lnTo>
                    <a:pt x="27797" y="26921"/>
                  </a:lnTo>
                  <a:lnTo>
                    <a:pt x="27797" y="6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" name="Полилиния: фигура 823">
              <a:extLst>
                <a:ext uri="{FF2B5EF4-FFF2-40B4-BE49-F238E27FC236}">
                  <a16:creationId xmlns="" xmlns:a16="http://schemas.microsoft.com/office/drawing/2014/main" id="{B567CA24-4A08-4F36-8BE1-B1C6D94586B1}"/>
                </a:ext>
              </a:extLst>
            </p:cNvPr>
            <p:cNvSpPr/>
            <p:nvPr/>
          </p:nvSpPr>
          <p:spPr>
            <a:xfrm>
              <a:off x="3298563" y="1364522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Полилиния: фигура 824">
              <a:extLst>
                <a:ext uri="{FF2B5EF4-FFF2-40B4-BE49-F238E27FC236}">
                  <a16:creationId xmlns="" xmlns:a16="http://schemas.microsoft.com/office/drawing/2014/main" id="{245EA308-B01F-4F52-AA85-DBCF7A702EC7}"/>
                </a:ext>
              </a:extLst>
            </p:cNvPr>
            <p:cNvSpPr/>
            <p:nvPr/>
          </p:nvSpPr>
          <p:spPr>
            <a:xfrm>
              <a:off x="3264388" y="1364522"/>
              <a:ext cx="21938" cy="14344"/>
            </a:xfrm>
            <a:custGeom>
              <a:avLst/>
              <a:gdLst>
                <a:gd name="connsiteX0" fmla="*/ 633 w 21937"/>
                <a:gd name="connsiteY0" fmla="*/ 633 h 14343"/>
                <a:gd name="connsiteX1" fmla="*/ 21663 w 21937"/>
                <a:gd name="connsiteY1" fmla="*/ 633 h 14343"/>
                <a:gd name="connsiteX2" fmla="*/ 21663 w 21937"/>
                <a:gd name="connsiteY2" fmla="*/ 13777 h 14343"/>
                <a:gd name="connsiteX3" fmla="*/ 633 w 21937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37" h="14343">
                  <a:moveTo>
                    <a:pt x="633" y="633"/>
                  </a:moveTo>
                  <a:lnTo>
                    <a:pt x="21663" y="633"/>
                  </a:lnTo>
                  <a:lnTo>
                    <a:pt x="21663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Полилиния: фигура 825">
              <a:extLst>
                <a:ext uri="{FF2B5EF4-FFF2-40B4-BE49-F238E27FC236}">
                  <a16:creationId xmlns="" xmlns:a16="http://schemas.microsoft.com/office/drawing/2014/main" id="{2F135675-9412-47AC-9F3D-11AACBC72669}"/>
                </a:ext>
              </a:extLst>
            </p:cNvPr>
            <p:cNvSpPr/>
            <p:nvPr/>
          </p:nvSpPr>
          <p:spPr>
            <a:xfrm>
              <a:off x="3231966" y="1364522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" name="Полилиния: фигура 826">
              <a:extLst>
                <a:ext uri="{FF2B5EF4-FFF2-40B4-BE49-F238E27FC236}">
                  <a16:creationId xmlns="" xmlns:a16="http://schemas.microsoft.com/office/drawing/2014/main" id="{3820E5FC-4586-488D-B9FF-2A1EB8EC395D}"/>
                </a:ext>
              </a:extLst>
            </p:cNvPr>
            <p:cNvSpPr/>
            <p:nvPr/>
          </p:nvSpPr>
          <p:spPr>
            <a:xfrm>
              <a:off x="3191658" y="1351376"/>
              <a:ext cx="27844" cy="27000"/>
            </a:xfrm>
            <a:custGeom>
              <a:avLst/>
              <a:gdLst>
                <a:gd name="connsiteX0" fmla="*/ 13777 w 27843"/>
                <a:gd name="connsiteY0" fmla="*/ 13778 h 27000"/>
                <a:gd name="connsiteX1" fmla="*/ 13777 w 27843"/>
                <a:gd name="connsiteY1" fmla="*/ 633 h 27000"/>
                <a:gd name="connsiteX2" fmla="*/ 633 w 27843"/>
                <a:gd name="connsiteY2" fmla="*/ 633 h 27000"/>
                <a:gd name="connsiteX3" fmla="*/ 633 w 27843"/>
                <a:gd name="connsiteY3" fmla="*/ 26922 h 27000"/>
                <a:gd name="connsiteX4" fmla="*/ 27797 w 27843"/>
                <a:gd name="connsiteY4" fmla="*/ 26922 h 27000"/>
                <a:gd name="connsiteX5" fmla="*/ 27797 w 27843"/>
                <a:gd name="connsiteY5" fmla="*/ 13778 h 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000">
                  <a:moveTo>
                    <a:pt x="13777" y="13778"/>
                  </a:moveTo>
                  <a:lnTo>
                    <a:pt x="13777" y="633"/>
                  </a:lnTo>
                  <a:lnTo>
                    <a:pt x="633" y="633"/>
                  </a:lnTo>
                  <a:lnTo>
                    <a:pt x="633" y="26922"/>
                  </a:lnTo>
                  <a:lnTo>
                    <a:pt x="27797" y="26922"/>
                  </a:lnTo>
                  <a:lnTo>
                    <a:pt x="27797" y="137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" name="Полилиния: фигура 827">
              <a:extLst>
                <a:ext uri="{FF2B5EF4-FFF2-40B4-BE49-F238E27FC236}">
                  <a16:creationId xmlns="" xmlns:a16="http://schemas.microsoft.com/office/drawing/2014/main" id="{F688092C-9C17-413B-9CF2-DA227D167CAC}"/>
                </a:ext>
              </a:extLst>
            </p:cNvPr>
            <p:cNvSpPr/>
            <p:nvPr/>
          </p:nvSpPr>
          <p:spPr>
            <a:xfrm>
              <a:off x="3191658" y="1317203"/>
              <a:ext cx="14344" cy="21938"/>
            </a:xfrm>
            <a:custGeom>
              <a:avLst/>
              <a:gdLst>
                <a:gd name="connsiteX0" fmla="*/ 633 w 14343"/>
                <a:gd name="connsiteY0" fmla="*/ 633 h 21937"/>
                <a:gd name="connsiteX1" fmla="*/ 13777 w 14343"/>
                <a:gd name="connsiteY1" fmla="*/ 633 h 21937"/>
                <a:gd name="connsiteX2" fmla="*/ 13777 w 14343"/>
                <a:gd name="connsiteY2" fmla="*/ 21663 h 21937"/>
                <a:gd name="connsiteX3" fmla="*/ 633 w 14343"/>
                <a:gd name="connsiteY3" fmla="*/ 21663 h 21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1937">
                  <a:moveTo>
                    <a:pt x="633" y="633"/>
                  </a:moveTo>
                  <a:lnTo>
                    <a:pt x="13777" y="633"/>
                  </a:lnTo>
                  <a:lnTo>
                    <a:pt x="13777" y="21663"/>
                  </a:lnTo>
                  <a:lnTo>
                    <a:pt x="633" y="216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" name="Полилиния: фигура 828">
              <a:extLst>
                <a:ext uri="{FF2B5EF4-FFF2-40B4-BE49-F238E27FC236}">
                  <a16:creationId xmlns="" xmlns:a16="http://schemas.microsoft.com/office/drawing/2014/main" id="{29D19B96-22C0-424D-A8BC-3AADE8A98BAE}"/>
                </a:ext>
              </a:extLst>
            </p:cNvPr>
            <p:cNvSpPr/>
            <p:nvPr/>
          </p:nvSpPr>
          <p:spPr>
            <a:xfrm>
              <a:off x="3191658" y="1284781"/>
              <a:ext cx="14344" cy="20250"/>
            </a:xfrm>
            <a:custGeom>
              <a:avLst/>
              <a:gdLst>
                <a:gd name="connsiteX0" fmla="*/ 633 w 14343"/>
                <a:gd name="connsiteY0" fmla="*/ 633 h 20250"/>
                <a:gd name="connsiteX1" fmla="*/ 13777 w 14343"/>
                <a:gd name="connsiteY1" fmla="*/ 633 h 20250"/>
                <a:gd name="connsiteX2" fmla="*/ 13777 w 14343"/>
                <a:gd name="connsiteY2" fmla="*/ 19911 h 20250"/>
                <a:gd name="connsiteX3" fmla="*/ 633 w 14343"/>
                <a:gd name="connsiteY3" fmla="*/ 19911 h 2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0250">
                  <a:moveTo>
                    <a:pt x="633" y="633"/>
                  </a:moveTo>
                  <a:lnTo>
                    <a:pt x="13777" y="633"/>
                  </a:lnTo>
                  <a:lnTo>
                    <a:pt x="13777" y="19911"/>
                  </a:lnTo>
                  <a:lnTo>
                    <a:pt x="633" y="1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" name="Полилиния: фигура 829">
              <a:extLst>
                <a:ext uri="{FF2B5EF4-FFF2-40B4-BE49-F238E27FC236}">
                  <a16:creationId xmlns="" xmlns:a16="http://schemas.microsoft.com/office/drawing/2014/main" id="{0B2F92F0-1919-441A-86CF-F56131B61133}"/>
                </a:ext>
              </a:extLst>
            </p:cNvPr>
            <p:cNvSpPr/>
            <p:nvPr/>
          </p:nvSpPr>
          <p:spPr>
            <a:xfrm>
              <a:off x="3177638" y="1244472"/>
              <a:ext cx="27844" cy="27844"/>
            </a:xfrm>
            <a:custGeom>
              <a:avLst/>
              <a:gdLst>
                <a:gd name="connsiteX0" fmla="*/ 633 w 27843"/>
                <a:gd name="connsiteY0" fmla="*/ 633 h 27843"/>
                <a:gd name="connsiteX1" fmla="*/ 633 w 27843"/>
                <a:gd name="connsiteY1" fmla="*/ 13777 h 27843"/>
                <a:gd name="connsiteX2" fmla="*/ 14653 w 27843"/>
                <a:gd name="connsiteY2" fmla="*/ 13777 h 27843"/>
                <a:gd name="connsiteX3" fmla="*/ 14653 w 27843"/>
                <a:gd name="connsiteY3" fmla="*/ 27797 h 27843"/>
                <a:gd name="connsiteX4" fmla="*/ 27797 w 27843"/>
                <a:gd name="connsiteY4" fmla="*/ 27797 h 27843"/>
                <a:gd name="connsiteX5" fmla="*/ 27797 w 27843"/>
                <a:gd name="connsiteY5" fmla="*/ 633 h 2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843">
                  <a:moveTo>
                    <a:pt x="633" y="633"/>
                  </a:moveTo>
                  <a:lnTo>
                    <a:pt x="633" y="13777"/>
                  </a:lnTo>
                  <a:lnTo>
                    <a:pt x="14653" y="13777"/>
                  </a:lnTo>
                  <a:lnTo>
                    <a:pt x="14653" y="27797"/>
                  </a:lnTo>
                  <a:lnTo>
                    <a:pt x="27797" y="27797"/>
                  </a:lnTo>
                  <a:lnTo>
                    <a:pt x="27797" y="6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Полилиния: фигура 830">
              <a:extLst>
                <a:ext uri="{FF2B5EF4-FFF2-40B4-BE49-F238E27FC236}">
                  <a16:creationId xmlns="" xmlns:a16="http://schemas.microsoft.com/office/drawing/2014/main" id="{68E0C02D-C348-4299-9D5A-89668382F904}"/>
                </a:ext>
              </a:extLst>
            </p:cNvPr>
            <p:cNvSpPr/>
            <p:nvPr/>
          </p:nvSpPr>
          <p:spPr>
            <a:xfrm>
              <a:off x="3145216" y="1244473"/>
              <a:ext cx="21094" cy="14344"/>
            </a:xfrm>
            <a:custGeom>
              <a:avLst/>
              <a:gdLst>
                <a:gd name="connsiteX0" fmla="*/ 633 w 21093"/>
                <a:gd name="connsiteY0" fmla="*/ 633 h 14343"/>
                <a:gd name="connsiteX1" fmla="*/ 20787 w 21093"/>
                <a:gd name="connsiteY1" fmla="*/ 633 h 14343"/>
                <a:gd name="connsiteX2" fmla="*/ 20787 w 21093"/>
                <a:gd name="connsiteY2" fmla="*/ 13777 h 14343"/>
                <a:gd name="connsiteX3" fmla="*/ 633 w 21093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93" h="14343">
                  <a:moveTo>
                    <a:pt x="633" y="633"/>
                  </a:moveTo>
                  <a:lnTo>
                    <a:pt x="20787" y="633"/>
                  </a:lnTo>
                  <a:lnTo>
                    <a:pt x="20787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" name="Полилиния: фигура 831">
              <a:extLst>
                <a:ext uri="{FF2B5EF4-FFF2-40B4-BE49-F238E27FC236}">
                  <a16:creationId xmlns="" xmlns:a16="http://schemas.microsoft.com/office/drawing/2014/main" id="{2F5DB546-541E-4F71-B4B5-44EEA0FC76ED}"/>
                </a:ext>
              </a:extLst>
            </p:cNvPr>
            <p:cNvSpPr/>
            <p:nvPr/>
          </p:nvSpPr>
          <p:spPr>
            <a:xfrm>
              <a:off x="3111917" y="1244473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" name="Полилиния: фигура 832">
              <a:extLst>
                <a:ext uri="{FF2B5EF4-FFF2-40B4-BE49-F238E27FC236}">
                  <a16:creationId xmlns="" xmlns:a16="http://schemas.microsoft.com/office/drawing/2014/main" id="{C026F7C2-8A46-453A-8A15-C2450A507F2D}"/>
                </a:ext>
              </a:extLst>
            </p:cNvPr>
            <p:cNvSpPr/>
            <p:nvPr/>
          </p:nvSpPr>
          <p:spPr>
            <a:xfrm>
              <a:off x="3071609" y="1231329"/>
              <a:ext cx="27844" cy="27000"/>
            </a:xfrm>
            <a:custGeom>
              <a:avLst/>
              <a:gdLst>
                <a:gd name="connsiteX0" fmla="*/ 13777 w 27843"/>
                <a:gd name="connsiteY0" fmla="*/ 13777 h 27000"/>
                <a:gd name="connsiteX1" fmla="*/ 13777 w 27843"/>
                <a:gd name="connsiteY1" fmla="*/ 633 h 27000"/>
                <a:gd name="connsiteX2" fmla="*/ 633 w 27843"/>
                <a:gd name="connsiteY2" fmla="*/ 633 h 27000"/>
                <a:gd name="connsiteX3" fmla="*/ 633 w 27843"/>
                <a:gd name="connsiteY3" fmla="*/ 26921 h 27000"/>
                <a:gd name="connsiteX4" fmla="*/ 27797 w 27843"/>
                <a:gd name="connsiteY4" fmla="*/ 26921 h 27000"/>
                <a:gd name="connsiteX5" fmla="*/ 27797 w 27843"/>
                <a:gd name="connsiteY5" fmla="*/ 13777 h 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000">
                  <a:moveTo>
                    <a:pt x="13777" y="13777"/>
                  </a:moveTo>
                  <a:lnTo>
                    <a:pt x="13777" y="633"/>
                  </a:lnTo>
                  <a:lnTo>
                    <a:pt x="633" y="633"/>
                  </a:lnTo>
                  <a:lnTo>
                    <a:pt x="633" y="26921"/>
                  </a:lnTo>
                  <a:lnTo>
                    <a:pt x="27797" y="26921"/>
                  </a:lnTo>
                  <a:lnTo>
                    <a:pt x="27797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" name="Полилиния: фигура 833">
              <a:extLst>
                <a:ext uri="{FF2B5EF4-FFF2-40B4-BE49-F238E27FC236}">
                  <a16:creationId xmlns="" xmlns:a16="http://schemas.microsoft.com/office/drawing/2014/main" id="{F78C713C-D3EE-4BF0-AB52-4BB9D7726BD6}"/>
                </a:ext>
              </a:extLst>
            </p:cNvPr>
            <p:cNvSpPr/>
            <p:nvPr/>
          </p:nvSpPr>
          <p:spPr>
            <a:xfrm>
              <a:off x="3071609" y="1198031"/>
              <a:ext cx="14344" cy="21094"/>
            </a:xfrm>
            <a:custGeom>
              <a:avLst/>
              <a:gdLst>
                <a:gd name="connsiteX0" fmla="*/ 633 w 14343"/>
                <a:gd name="connsiteY0" fmla="*/ 633 h 21093"/>
                <a:gd name="connsiteX1" fmla="*/ 13777 w 14343"/>
                <a:gd name="connsiteY1" fmla="*/ 633 h 21093"/>
                <a:gd name="connsiteX2" fmla="*/ 13777 w 14343"/>
                <a:gd name="connsiteY2" fmla="*/ 20787 h 21093"/>
                <a:gd name="connsiteX3" fmla="*/ 633 w 14343"/>
                <a:gd name="connsiteY3" fmla="*/ 20787 h 21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1093">
                  <a:moveTo>
                    <a:pt x="633" y="633"/>
                  </a:moveTo>
                  <a:lnTo>
                    <a:pt x="13777" y="633"/>
                  </a:lnTo>
                  <a:lnTo>
                    <a:pt x="13777" y="20787"/>
                  </a:lnTo>
                  <a:lnTo>
                    <a:pt x="633" y="207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" name="Полилиния: фигура 834">
              <a:extLst>
                <a:ext uri="{FF2B5EF4-FFF2-40B4-BE49-F238E27FC236}">
                  <a16:creationId xmlns="" xmlns:a16="http://schemas.microsoft.com/office/drawing/2014/main" id="{C25248EB-1EF0-44A1-AAA0-E075A5436F89}"/>
                </a:ext>
              </a:extLst>
            </p:cNvPr>
            <p:cNvSpPr/>
            <p:nvPr/>
          </p:nvSpPr>
          <p:spPr>
            <a:xfrm>
              <a:off x="3071609" y="1164733"/>
              <a:ext cx="14344" cy="20250"/>
            </a:xfrm>
            <a:custGeom>
              <a:avLst/>
              <a:gdLst>
                <a:gd name="connsiteX0" fmla="*/ 633 w 14343"/>
                <a:gd name="connsiteY0" fmla="*/ 633 h 20250"/>
                <a:gd name="connsiteX1" fmla="*/ 13777 w 14343"/>
                <a:gd name="connsiteY1" fmla="*/ 633 h 20250"/>
                <a:gd name="connsiteX2" fmla="*/ 13777 w 14343"/>
                <a:gd name="connsiteY2" fmla="*/ 19911 h 20250"/>
                <a:gd name="connsiteX3" fmla="*/ 633 w 14343"/>
                <a:gd name="connsiteY3" fmla="*/ 19911 h 2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0250">
                  <a:moveTo>
                    <a:pt x="633" y="633"/>
                  </a:moveTo>
                  <a:lnTo>
                    <a:pt x="13777" y="633"/>
                  </a:lnTo>
                  <a:lnTo>
                    <a:pt x="13777" y="19911"/>
                  </a:lnTo>
                  <a:lnTo>
                    <a:pt x="633" y="1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" name="Полилиния: фигура 835">
              <a:extLst>
                <a:ext uri="{FF2B5EF4-FFF2-40B4-BE49-F238E27FC236}">
                  <a16:creationId xmlns="" xmlns:a16="http://schemas.microsoft.com/office/drawing/2014/main" id="{7BCFE87A-04D7-4194-A75B-83D4E859AC1A}"/>
                </a:ext>
              </a:extLst>
            </p:cNvPr>
            <p:cNvSpPr/>
            <p:nvPr/>
          </p:nvSpPr>
          <p:spPr>
            <a:xfrm>
              <a:off x="3071609" y="1124424"/>
              <a:ext cx="27844" cy="27844"/>
            </a:xfrm>
            <a:custGeom>
              <a:avLst/>
              <a:gdLst>
                <a:gd name="connsiteX0" fmla="*/ 633 w 27843"/>
                <a:gd name="connsiteY0" fmla="*/ 633 h 27843"/>
                <a:gd name="connsiteX1" fmla="*/ 633 w 27843"/>
                <a:gd name="connsiteY1" fmla="*/ 27797 h 27843"/>
                <a:gd name="connsiteX2" fmla="*/ 13777 w 27843"/>
                <a:gd name="connsiteY2" fmla="*/ 27797 h 27843"/>
                <a:gd name="connsiteX3" fmla="*/ 13777 w 27843"/>
                <a:gd name="connsiteY3" fmla="*/ 13777 h 27843"/>
                <a:gd name="connsiteX4" fmla="*/ 27797 w 27843"/>
                <a:gd name="connsiteY4" fmla="*/ 13777 h 27843"/>
                <a:gd name="connsiteX5" fmla="*/ 27797 w 27843"/>
                <a:gd name="connsiteY5" fmla="*/ 633 h 2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843">
                  <a:moveTo>
                    <a:pt x="633" y="633"/>
                  </a:moveTo>
                  <a:lnTo>
                    <a:pt x="633" y="27797"/>
                  </a:lnTo>
                  <a:lnTo>
                    <a:pt x="13777" y="27797"/>
                  </a:lnTo>
                  <a:lnTo>
                    <a:pt x="13777" y="13777"/>
                  </a:lnTo>
                  <a:lnTo>
                    <a:pt x="27797" y="13777"/>
                  </a:lnTo>
                  <a:lnTo>
                    <a:pt x="27797" y="6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" name="Полилиния: фигура 836">
              <a:extLst>
                <a:ext uri="{FF2B5EF4-FFF2-40B4-BE49-F238E27FC236}">
                  <a16:creationId xmlns="" xmlns:a16="http://schemas.microsoft.com/office/drawing/2014/main" id="{CBCA1CC3-12D9-41BD-8941-E2C26DD1B64E}"/>
                </a:ext>
              </a:extLst>
            </p:cNvPr>
            <p:cNvSpPr/>
            <p:nvPr/>
          </p:nvSpPr>
          <p:spPr>
            <a:xfrm>
              <a:off x="3111917" y="1124425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" name="Полилиния: фигура 837">
              <a:extLst>
                <a:ext uri="{FF2B5EF4-FFF2-40B4-BE49-F238E27FC236}">
                  <a16:creationId xmlns="" xmlns:a16="http://schemas.microsoft.com/office/drawing/2014/main" id="{93DA6983-0A35-4D28-8154-81853897DFC8}"/>
                </a:ext>
              </a:extLst>
            </p:cNvPr>
            <p:cNvSpPr/>
            <p:nvPr/>
          </p:nvSpPr>
          <p:spPr>
            <a:xfrm>
              <a:off x="3145216" y="1124425"/>
              <a:ext cx="21094" cy="14344"/>
            </a:xfrm>
            <a:custGeom>
              <a:avLst/>
              <a:gdLst>
                <a:gd name="connsiteX0" fmla="*/ 633 w 21093"/>
                <a:gd name="connsiteY0" fmla="*/ 633 h 14343"/>
                <a:gd name="connsiteX1" fmla="*/ 20787 w 21093"/>
                <a:gd name="connsiteY1" fmla="*/ 633 h 14343"/>
                <a:gd name="connsiteX2" fmla="*/ 20787 w 21093"/>
                <a:gd name="connsiteY2" fmla="*/ 13777 h 14343"/>
                <a:gd name="connsiteX3" fmla="*/ 633 w 21093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93" h="14343">
                  <a:moveTo>
                    <a:pt x="633" y="633"/>
                  </a:moveTo>
                  <a:lnTo>
                    <a:pt x="20787" y="633"/>
                  </a:lnTo>
                  <a:lnTo>
                    <a:pt x="20787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" name="Полилиния: фигура 838">
              <a:extLst>
                <a:ext uri="{FF2B5EF4-FFF2-40B4-BE49-F238E27FC236}">
                  <a16:creationId xmlns="" xmlns:a16="http://schemas.microsoft.com/office/drawing/2014/main" id="{F7599794-183C-4DB5-87F0-AD75059ACC9A}"/>
                </a:ext>
              </a:extLst>
            </p:cNvPr>
            <p:cNvSpPr/>
            <p:nvPr/>
          </p:nvSpPr>
          <p:spPr>
            <a:xfrm>
              <a:off x="3177638" y="1124425"/>
              <a:ext cx="21094" cy="14344"/>
            </a:xfrm>
            <a:custGeom>
              <a:avLst/>
              <a:gdLst>
                <a:gd name="connsiteX0" fmla="*/ 633 w 21093"/>
                <a:gd name="connsiteY0" fmla="*/ 633 h 14343"/>
                <a:gd name="connsiteX1" fmla="*/ 20787 w 21093"/>
                <a:gd name="connsiteY1" fmla="*/ 633 h 14343"/>
                <a:gd name="connsiteX2" fmla="*/ 20787 w 21093"/>
                <a:gd name="connsiteY2" fmla="*/ 13777 h 14343"/>
                <a:gd name="connsiteX3" fmla="*/ 633 w 21093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93" h="14343">
                  <a:moveTo>
                    <a:pt x="633" y="633"/>
                  </a:moveTo>
                  <a:lnTo>
                    <a:pt x="20787" y="633"/>
                  </a:lnTo>
                  <a:lnTo>
                    <a:pt x="20787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" name="Полилиния: фигура 839">
              <a:extLst>
                <a:ext uri="{FF2B5EF4-FFF2-40B4-BE49-F238E27FC236}">
                  <a16:creationId xmlns="" xmlns:a16="http://schemas.microsoft.com/office/drawing/2014/main" id="{23FEF4BC-36AC-4FEA-BB3E-056ADA4D2577}"/>
                </a:ext>
              </a:extLst>
            </p:cNvPr>
            <p:cNvSpPr/>
            <p:nvPr/>
          </p:nvSpPr>
          <p:spPr>
            <a:xfrm>
              <a:off x="3211812" y="1124425"/>
              <a:ext cx="21094" cy="14344"/>
            </a:xfrm>
            <a:custGeom>
              <a:avLst/>
              <a:gdLst>
                <a:gd name="connsiteX0" fmla="*/ 633 w 21093"/>
                <a:gd name="connsiteY0" fmla="*/ 633 h 14343"/>
                <a:gd name="connsiteX1" fmla="*/ 20787 w 21093"/>
                <a:gd name="connsiteY1" fmla="*/ 633 h 14343"/>
                <a:gd name="connsiteX2" fmla="*/ 20787 w 21093"/>
                <a:gd name="connsiteY2" fmla="*/ 13777 h 14343"/>
                <a:gd name="connsiteX3" fmla="*/ 633 w 21093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93" h="14343">
                  <a:moveTo>
                    <a:pt x="633" y="633"/>
                  </a:moveTo>
                  <a:lnTo>
                    <a:pt x="20787" y="633"/>
                  </a:lnTo>
                  <a:lnTo>
                    <a:pt x="20787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" name="Полилиния: фигура 840">
              <a:extLst>
                <a:ext uri="{FF2B5EF4-FFF2-40B4-BE49-F238E27FC236}">
                  <a16:creationId xmlns="" xmlns:a16="http://schemas.microsoft.com/office/drawing/2014/main" id="{27FE4200-59EB-421D-8F64-E73FB204023D}"/>
                </a:ext>
              </a:extLst>
            </p:cNvPr>
            <p:cNvSpPr/>
            <p:nvPr/>
          </p:nvSpPr>
          <p:spPr>
            <a:xfrm>
              <a:off x="3244234" y="1124424"/>
              <a:ext cx="27844" cy="27844"/>
            </a:xfrm>
            <a:custGeom>
              <a:avLst/>
              <a:gdLst>
                <a:gd name="connsiteX0" fmla="*/ 633 w 27843"/>
                <a:gd name="connsiteY0" fmla="*/ 633 h 27843"/>
                <a:gd name="connsiteX1" fmla="*/ 633 w 27843"/>
                <a:gd name="connsiteY1" fmla="*/ 13777 h 27843"/>
                <a:gd name="connsiteX2" fmla="*/ 14653 w 27843"/>
                <a:gd name="connsiteY2" fmla="*/ 13777 h 27843"/>
                <a:gd name="connsiteX3" fmla="*/ 14653 w 27843"/>
                <a:gd name="connsiteY3" fmla="*/ 27797 h 27843"/>
                <a:gd name="connsiteX4" fmla="*/ 27797 w 27843"/>
                <a:gd name="connsiteY4" fmla="*/ 27797 h 27843"/>
                <a:gd name="connsiteX5" fmla="*/ 27797 w 27843"/>
                <a:gd name="connsiteY5" fmla="*/ 633 h 2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843">
                  <a:moveTo>
                    <a:pt x="633" y="633"/>
                  </a:moveTo>
                  <a:lnTo>
                    <a:pt x="633" y="13777"/>
                  </a:lnTo>
                  <a:lnTo>
                    <a:pt x="14653" y="13777"/>
                  </a:lnTo>
                  <a:lnTo>
                    <a:pt x="14653" y="27797"/>
                  </a:lnTo>
                  <a:lnTo>
                    <a:pt x="27797" y="27797"/>
                  </a:lnTo>
                  <a:lnTo>
                    <a:pt x="27797" y="6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" name="Полилиния: фигура 841">
              <a:extLst>
                <a:ext uri="{FF2B5EF4-FFF2-40B4-BE49-F238E27FC236}">
                  <a16:creationId xmlns="" xmlns:a16="http://schemas.microsoft.com/office/drawing/2014/main" id="{C5159C53-ED7D-4C9F-BDAA-A8591B27F703}"/>
                </a:ext>
              </a:extLst>
            </p:cNvPr>
            <p:cNvSpPr/>
            <p:nvPr/>
          </p:nvSpPr>
          <p:spPr>
            <a:xfrm>
              <a:off x="3258254" y="1164733"/>
              <a:ext cx="14344" cy="20250"/>
            </a:xfrm>
            <a:custGeom>
              <a:avLst/>
              <a:gdLst>
                <a:gd name="connsiteX0" fmla="*/ 633 w 14343"/>
                <a:gd name="connsiteY0" fmla="*/ 633 h 20250"/>
                <a:gd name="connsiteX1" fmla="*/ 13777 w 14343"/>
                <a:gd name="connsiteY1" fmla="*/ 633 h 20250"/>
                <a:gd name="connsiteX2" fmla="*/ 13777 w 14343"/>
                <a:gd name="connsiteY2" fmla="*/ 19911 h 20250"/>
                <a:gd name="connsiteX3" fmla="*/ 633 w 14343"/>
                <a:gd name="connsiteY3" fmla="*/ 19911 h 2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0250">
                  <a:moveTo>
                    <a:pt x="633" y="633"/>
                  </a:moveTo>
                  <a:lnTo>
                    <a:pt x="13777" y="633"/>
                  </a:lnTo>
                  <a:lnTo>
                    <a:pt x="13777" y="19911"/>
                  </a:lnTo>
                  <a:lnTo>
                    <a:pt x="633" y="1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" name="Полилиния: фигура 842">
              <a:extLst>
                <a:ext uri="{FF2B5EF4-FFF2-40B4-BE49-F238E27FC236}">
                  <a16:creationId xmlns="" xmlns:a16="http://schemas.microsoft.com/office/drawing/2014/main" id="{9DC8AFC1-EA12-4749-989E-E3ACBE78F123}"/>
                </a:ext>
              </a:extLst>
            </p:cNvPr>
            <p:cNvSpPr/>
            <p:nvPr/>
          </p:nvSpPr>
          <p:spPr>
            <a:xfrm>
              <a:off x="3258254" y="1198031"/>
              <a:ext cx="14344" cy="21094"/>
            </a:xfrm>
            <a:custGeom>
              <a:avLst/>
              <a:gdLst>
                <a:gd name="connsiteX0" fmla="*/ 633 w 14343"/>
                <a:gd name="connsiteY0" fmla="*/ 633 h 21093"/>
                <a:gd name="connsiteX1" fmla="*/ 13777 w 14343"/>
                <a:gd name="connsiteY1" fmla="*/ 633 h 21093"/>
                <a:gd name="connsiteX2" fmla="*/ 13777 w 14343"/>
                <a:gd name="connsiteY2" fmla="*/ 20787 h 21093"/>
                <a:gd name="connsiteX3" fmla="*/ 633 w 14343"/>
                <a:gd name="connsiteY3" fmla="*/ 20787 h 21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1093">
                  <a:moveTo>
                    <a:pt x="633" y="633"/>
                  </a:moveTo>
                  <a:lnTo>
                    <a:pt x="13777" y="633"/>
                  </a:lnTo>
                  <a:lnTo>
                    <a:pt x="13777" y="20787"/>
                  </a:lnTo>
                  <a:lnTo>
                    <a:pt x="633" y="207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" name="Полилиния: фигура 843">
              <a:extLst>
                <a:ext uri="{FF2B5EF4-FFF2-40B4-BE49-F238E27FC236}">
                  <a16:creationId xmlns="" xmlns:a16="http://schemas.microsoft.com/office/drawing/2014/main" id="{8B414C72-20CF-4BF5-A993-1CDC303BCAF6}"/>
                </a:ext>
              </a:extLst>
            </p:cNvPr>
            <p:cNvSpPr/>
            <p:nvPr/>
          </p:nvSpPr>
          <p:spPr>
            <a:xfrm>
              <a:off x="3258254" y="1231329"/>
              <a:ext cx="14344" cy="20250"/>
            </a:xfrm>
            <a:custGeom>
              <a:avLst/>
              <a:gdLst>
                <a:gd name="connsiteX0" fmla="*/ 633 w 14343"/>
                <a:gd name="connsiteY0" fmla="*/ 633 h 20250"/>
                <a:gd name="connsiteX1" fmla="*/ 13777 w 14343"/>
                <a:gd name="connsiteY1" fmla="*/ 633 h 20250"/>
                <a:gd name="connsiteX2" fmla="*/ 13777 w 14343"/>
                <a:gd name="connsiteY2" fmla="*/ 19911 h 20250"/>
                <a:gd name="connsiteX3" fmla="*/ 633 w 14343"/>
                <a:gd name="connsiteY3" fmla="*/ 19911 h 2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0250">
                  <a:moveTo>
                    <a:pt x="633" y="633"/>
                  </a:moveTo>
                  <a:lnTo>
                    <a:pt x="13777" y="633"/>
                  </a:lnTo>
                  <a:lnTo>
                    <a:pt x="13777" y="19911"/>
                  </a:lnTo>
                  <a:lnTo>
                    <a:pt x="633" y="1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" name="Полилиния: фигура 844">
              <a:extLst>
                <a:ext uri="{FF2B5EF4-FFF2-40B4-BE49-F238E27FC236}">
                  <a16:creationId xmlns="" xmlns:a16="http://schemas.microsoft.com/office/drawing/2014/main" id="{38A03532-01BD-4698-BB23-56583D6E68ED}"/>
                </a:ext>
              </a:extLst>
            </p:cNvPr>
            <p:cNvSpPr/>
            <p:nvPr/>
          </p:nvSpPr>
          <p:spPr>
            <a:xfrm>
              <a:off x="3258254" y="1264626"/>
              <a:ext cx="27844" cy="27000"/>
            </a:xfrm>
            <a:custGeom>
              <a:avLst/>
              <a:gdLst>
                <a:gd name="connsiteX0" fmla="*/ 13777 w 27843"/>
                <a:gd name="connsiteY0" fmla="*/ 13777 h 27000"/>
                <a:gd name="connsiteX1" fmla="*/ 13777 w 27843"/>
                <a:gd name="connsiteY1" fmla="*/ 633 h 27000"/>
                <a:gd name="connsiteX2" fmla="*/ 633 w 27843"/>
                <a:gd name="connsiteY2" fmla="*/ 633 h 27000"/>
                <a:gd name="connsiteX3" fmla="*/ 633 w 27843"/>
                <a:gd name="connsiteY3" fmla="*/ 26921 h 27000"/>
                <a:gd name="connsiteX4" fmla="*/ 27797 w 27843"/>
                <a:gd name="connsiteY4" fmla="*/ 26921 h 27000"/>
                <a:gd name="connsiteX5" fmla="*/ 27797 w 27843"/>
                <a:gd name="connsiteY5" fmla="*/ 13777 h 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000">
                  <a:moveTo>
                    <a:pt x="13777" y="13777"/>
                  </a:moveTo>
                  <a:lnTo>
                    <a:pt x="13777" y="633"/>
                  </a:lnTo>
                  <a:lnTo>
                    <a:pt x="633" y="633"/>
                  </a:lnTo>
                  <a:lnTo>
                    <a:pt x="633" y="26921"/>
                  </a:lnTo>
                  <a:lnTo>
                    <a:pt x="27797" y="26921"/>
                  </a:lnTo>
                  <a:lnTo>
                    <a:pt x="27797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" name="Полилиния: фигура 845">
              <a:extLst>
                <a:ext uri="{FF2B5EF4-FFF2-40B4-BE49-F238E27FC236}">
                  <a16:creationId xmlns="" xmlns:a16="http://schemas.microsoft.com/office/drawing/2014/main" id="{2A78A3C7-130B-401E-997F-FDBB6A2307DA}"/>
                </a:ext>
              </a:extLst>
            </p:cNvPr>
            <p:cNvSpPr/>
            <p:nvPr/>
          </p:nvSpPr>
          <p:spPr>
            <a:xfrm>
              <a:off x="3298563" y="1277771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" name="Полилиния: фигура 846">
              <a:extLst>
                <a:ext uri="{FF2B5EF4-FFF2-40B4-BE49-F238E27FC236}">
                  <a16:creationId xmlns="" xmlns:a16="http://schemas.microsoft.com/office/drawing/2014/main" id="{822597F6-05E6-4115-9F5A-100563FE30E4}"/>
                </a:ext>
              </a:extLst>
            </p:cNvPr>
            <p:cNvSpPr/>
            <p:nvPr/>
          </p:nvSpPr>
          <p:spPr>
            <a:xfrm>
              <a:off x="3330984" y="1277771"/>
              <a:ext cx="21938" cy="14344"/>
            </a:xfrm>
            <a:custGeom>
              <a:avLst/>
              <a:gdLst>
                <a:gd name="connsiteX0" fmla="*/ 633 w 21937"/>
                <a:gd name="connsiteY0" fmla="*/ 633 h 14343"/>
                <a:gd name="connsiteX1" fmla="*/ 21663 w 21937"/>
                <a:gd name="connsiteY1" fmla="*/ 633 h 14343"/>
                <a:gd name="connsiteX2" fmla="*/ 21663 w 21937"/>
                <a:gd name="connsiteY2" fmla="*/ 13777 h 14343"/>
                <a:gd name="connsiteX3" fmla="*/ 633 w 21937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37" h="14343">
                  <a:moveTo>
                    <a:pt x="633" y="633"/>
                  </a:moveTo>
                  <a:lnTo>
                    <a:pt x="21663" y="633"/>
                  </a:lnTo>
                  <a:lnTo>
                    <a:pt x="21663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68" name="Рисунок 3430">
            <a:extLst>
              <a:ext uri="{FF2B5EF4-FFF2-40B4-BE49-F238E27FC236}">
                <a16:creationId xmlns="" xmlns:a16="http://schemas.microsoft.com/office/drawing/2014/main" id="{072C8C57-3602-418F-B5BC-60DFB235F0F3}"/>
              </a:ext>
            </a:extLst>
          </p:cNvPr>
          <p:cNvSpPr>
            <a:spLocks noChangeAspect="1"/>
          </p:cNvSpPr>
          <p:nvPr/>
        </p:nvSpPr>
        <p:spPr>
          <a:xfrm>
            <a:off x="4810696" y="6074007"/>
            <a:ext cx="260663" cy="260639"/>
          </a:xfrm>
          <a:custGeom>
            <a:avLst/>
            <a:gdLst>
              <a:gd name="connsiteX0" fmla="*/ 206753 w 313592"/>
              <a:gd name="connsiteY0" fmla="*/ 313563 h 313563"/>
              <a:gd name="connsiteX1" fmla="*/ 202134 w 313592"/>
              <a:gd name="connsiteY1" fmla="*/ 311649 h 313563"/>
              <a:gd name="connsiteX2" fmla="*/ 184313 w 313592"/>
              <a:gd name="connsiteY2" fmla="*/ 293835 h 313563"/>
              <a:gd name="connsiteX3" fmla="*/ 182634 w 313592"/>
              <a:gd name="connsiteY3" fmla="*/ 287465 h 313563"/>
              <a:gd name="connsiteX4" fmla="*/ 198215 w 313592"/>
              <a:gd name="connsiteY4" fmla="*/ 231475 h 313563"/>
              <a:gd name="connsiteX5" fmla="*/ 143583 w 313592"/>
              <a:gd name="connsiteY5" fmla="*/ 186054 h 313563"/>
              <a:gd name="connsiteX6" fmla="*/ 66420 w 313592"/>
              <a:gd name="connsiteY6" fmla="*/ 293240 h 313563"/>
              <a:gd name="connsiteX7" fmla="*/ 61645 w 313592"/>
              <a:gd name="connsiteY7" fmla="*/ 295938 h 313563"/>
              <a:gd name="connsiteX8" fmla="*/ 56497 w 313592"/>
              <a:gd name="connsiteY8" fmla="*/ 294044 h 313563"/>
              <a:gd name="connsiteX9" fmla="*/ 30145 w 313592"/>
              <a:gd name="connsiteY9" fmla="*/ 267698 h 313563"/>
              <a:gd name="connsiteX10" fmla="*/ 28734 w 313592"/>
              <a:gd name="connsiteY10" fmla="*/ 260564 h 313563"/>
              <a:gd name="connsiteX11" fmla="*/ 83261 w 313592"/>
              <a:gd name="connsiteY11" fmla="*/ 129841 h 313563"/>
              <a:gd name="connsiteX12" fmla="*/ 77767 w 313592"/>
              <a:gd name="connsiteY12" fmla="*/ 124393 h 313563"/>
              <a:gd name="connsiteX13" fmla="*/ 10906 w 313592"/>
              <a:gd name="connsiteY13" fmla="*/ 46329 h 313563"/>
              <a:gd name="connsiteX14" fmla="*/ 4903 w 313592"/>
              <a:gd name="connsiteY14" fmla="*/ 4880 h 313563"/>
              <a:gd name="connsiteX15" fmla="*/ 17570 w 313592"/>
              <a:gd name="connsiteY15" fmla="*/ 0 h 313563"/>
              <a:gd name="connsiteX16" fmla="*/ 124416 w 313592"/>
              <a:gd name="connsiteY16" fmla="*/ 77744 h 313563"/>
              <a:gd name="connsiteX17" fmla="*/ 129871 w 313592"/>
              <a:gd name="connsiteY17" fmla="*/ 83238 h 313563"/>
              <a:gd name="connsiteX18" fmla="*/ 260588 w 313592"/>
              <a:gd name="connsiteY18" fmla="*/ 28704 h 313563"/>
              <a:gd name="connsiteX19" fmla="*/ 267721 w 313592"/>
              <a:gd name="connsiteY19" fmla="*/ 30115 h 313563"/>
              <a:gd name="connsiteX20" fmla="*/ 294080 w 313592"/>
              <a:gd name="connsiteY20" fmla="*/ 56467 h 313563"/>
              <a:gd name="connsiteX21" fmla="*/ 295974 w 313592"/>
              <a:gd name="connsiteY21" fmla="*/ 61615 h 313563"/>
              <a:gd name="connsiteX22" fmla="*/ 293276 w 313592"/>
              <a:gd name="connsiteY22" fmla="*/ 66390 h 313563"/>
              <a:gd name="connsiteX23" fmla="*/ 186071 w 313592"/>
              <a:gd name="connsiteY23" fmla="*/ 143566 h 313563"/>
              <a:gd name="connsiteX24" fmla="*/ 231505 w 313592"/>
              <a:gd name="connsiteY24" fmla="*/ 198185 h 313563"/>
              <a:gd name="connsiteX25" fmla="*/ 287489 w 313592"/>
              <a:gd name="connsiteY25" fmla="*/ 182611 h 313563"/>
              <a:gd name="connsiteX26" fmla="*/ 293858 w 313592"/>
              <a:gd name="connsiteY26" fmla="*/ 184290 h 313563"/>
              <a:gd name="connsiteX27" fmla="*/ 311679 w 313592"/>
              <a:gd name="connsiteY27" fmla="*/ 202104 h 313563"/>
              <a:gd name="connsiteX28" fmla="*/ 313554 w 313592"/>
              <a:gd name="connsiteY28" fmla="*/ 207435 h 313563"/>
              <a:gd name="connsiteX29" fmla="*/ 310562 w 313592"/>
              <a:gd name="connsiteY29" fmla="*/ 212236 h 313563"/>
              <a:gd name="connsiteX30" fmla="*/ 261463 w 313592"/>
              <a:gd name="connsiteY30" fmla="*/ 243390 h 313563"/>
              <a:gd name="connsiteX31" fmla="*/ 261541 w 313592"/>
              <a:gd name="connsiteY31" fmla="*/ 261492 h 313563"/>
              <a:gd name="connsiteX32" fmla="*/ 243433 w 313592"/>
              <a:gd name="connsiteY32" fmla="*/ 261427 h 313563"/>
              <a:gd name="connsiteX33" fmla="*/ 212273 w 313592"/>
              <a:gd name="connsiteY33" fmla="*/ 310538 h 313563"/>
              <a:gd name="connsiteX34" fmla="*/ 207478 w 313592"/>
              <a:gd name="connsiteY34" fmla="*/ 313530 h 313563"/>
              <a:gd name="connsiteX35" fmla="*/ 206753 w 313592"/>
              <a:gd name="connsiteY35" fmla="*/ 313563 h 313563"/>
              <a:gd name="connsiteX36" fmla="*/ 196255 w 313592"/>
              <a:gd name="connsiteY36" fmla="*/ 287296 h 313563"/>
              <a:gd name="connsiteX37" fmla="*/ 205609 w 313592"/>
              <a:gd name="connsiteY37" fmla="*/ 296650 h 313563"/>
              <a:gd name="connsiteX38" fmla="*/ 235548 w 313592"/>
              <a:gd name="connsiteY38" fmla="*/ 249459 h 313563"/>
              <a:gd name="connsiteX39" fmla="*/ 244165 w 313592"/>
              <a:gd name="connsiteY39" fmla="*/ 247212 h 313563"/>
              <a:gd name="connsiteX40" fmla="*/ 250096 w 313592"/>
              <a:gd name="connsiteY40" fmla="*/ 250066 h 313563"/>
              <a:gd name="connsiteX41" fmla="*/ 247242 w 313592"/>
              <a:gd name="connsiteY41" fmla="*/ 244135 h 313563"/>
              <a:gd name="connsiteX42" fmla="*/ 249489 w 313592"/>
              <a:gd name="connsiteY42" fmla="*/ 235518 h 313563"/>
              <a:gd name="connsiteX43" fmla="*/ 296673 w 313592"/>
              <a:gd name="connsiteY43" fmla="*/ 205580 h 313563"/>
              <a:gd name="connsiteX44" fmla="*/ 287319 w 313592"/>
              <a:gd name="connsiteY44" fmla="*/ 196232 h 313563"/>
              <a:gd name="connsiteX45" fmla="*/ 230753 w 313592"/>
              <a:gd name="connsiteY45" fmla="*/ 211962 h 313563"/>
              <a:gd name="connsiteX46" fmla="*/ 223809 w 313592"/>
              <a:gd name="connsiteY46" fmla="*/ 209630 h 313563"/>
              <a:gd name="connsiteX47" fmla="*/ 171509 w 313592"/>
              <a:gd name="connsiteY47" fmla="*/ 146839 h 313563"/>
              <a:gd name="connsiteX48" fmla="*/ 169896 w 313592"/>
              <a:gd name="connsiteY48" fmla="*/ 141783 h 313563"/>
              <a:gd name="connsiteX49" fmla="*/ 172574 w 313592"/>
              <a:gd name="connsiteY49" fmla="*/ 137197 h 313563"/>
              <a:gd name="connsiteX50" fmla="*/ 279408 w 313592"/>
              <a:gd name="connsiteY50" fmla="*/ 60282 h 313563"/>
              <a:gd name="connsiteX51" fmla="*/ 261580 w 313592"/>
              <a:gd name="connsiteY51" fmla="*/ 42455 h 313563"/>
              <a:gd name="connsiteX52" fmla="*/ 130831 w 313592"/>
              <a:gd name="connsiteY52" fmla="*/ 97002 h 313563"/>
              <a:gd name="connsiteX53" fmla="*/ 123652 w 313592"/>
              <a:gd name="connsiteY53" fmla="*/ 95552 h 313563"/>
              <a:gd name="connsiteX54" fmla="*/ 115186 w 313592"/>
              <a:gd name="connsiteY54" fmla="*/ 86994 h 313563"/>
              <a:gd name="connsiteX55" fmla="*/ 17570 w 313592"/>
              <a:gd name="connsiteY55" fmla="*/ 13065 h 313563"/>
              <a:gd name="connsiteX56" fmla="*/ 14140 w 313592"/>
              <a:gd name="connsiteY56" fmla="*/ 14117 h 313563"/>
              <a:gd name="connsiteX57" fmla="*/ 22018 w 313592"/>
              <a:gd name="connsiteY57" fmla="*/ 39457 h 313563"/>
              <a:gd name="connsiteX58" fmla="*/ 87011 w 313592"/>
              <a:gd name="connsiteY58" fmla="*/ 115156 h 313563"/>
              <a:gd name="connsiteX59" fmla="*/ 95568 w 313592"/>
              <a:gd name="connsiteY59" fmla="*/ 123622 h 313563"/>
              <a:gd name="connsiteX60" fmla="*/ 97019 w 313592"/>
              <a:gd name="connsiteY60" fmla="*/ 130795 h 313563"/>
              <a:gd name="connsiteX61" fmla="*/ 42478 w 313592"/>
              <a:gd name="connsiteY61" fmla="*/ 261551 h 313563"/>
              <a:gd name="connsiteX62" fmla="*/ 60306 w 313592"/>
              <a:gd name="connsiteY62" fmla="*/ 279378 h 313563"/>
              <a:gd name="connsiteX63" fmla="*/ 137207 w 313592"/>
              <a:gd name="connsiteY63" fmla="*/ 172558 h 313563"/>
              <a:gd name="connsiteX64" fmla="*/ 141793 w 313592"/>
              <a:gd name="connsiteY64" fmla="*/ 169879 h 313563"/>
              <a:gd name="connsiteX65" fmla="*/ 146849 w 313592"/>
              <a:gd name="connsiteY65" fmla="*/ 171493 h 313563"/>
              <a:gd name="connsiteX66" fmla="*/ 209647 w 313592"/>
              <a:gd name="connsiteY66" fmla="*/ 223779 h 313563"/>
              <a:gd name="connsiteX67" fmla="*/ 211985 w 313592"/>
              <a:gd name="connsiteY67" fmla="*/ 230724 h 313563"/>
              <a:gd name="connsiteX68" fmla="*/ 196255 w 313592"/>
              <a:gd name="connsiteY68" fmla="*/ 287296 h 313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313592" h="313563">
                <a:moveTo>
                  <a:pt x="206753" y="313563"/>
                </a:moveTo>
                <a:cubicBezTo>
                  <a:pt x="205028" y="313563"/>
                  <a:pt x="203362" y="312884"/>
                  <a:pt x="202134" y="311649"/>
                </a:cubicBezTo>
                <a:lnTo>
                  <a:pt x="184313" y="293835"/>
                </a:lnTo>
                <a:cubicBezTo>
                  <a:pt x="182648" y="292169"/>
                  <a:pt x="182001" y="289732"/>
                  <a:pt x="182634" y="287465"/>
                </a:cubicBezTo>
                <a:lnTo>
                  <a:pt x="198215" y="231475"/>
                </a:lnTo>
                <a:cubicBezTo>
                  <a:pt x="181962" y="218939"/>
                  <a:pt x="163246" y="203378"/>
                  <a:pt x="143583" y="186054"/>
                </a:cubicBezTo>
                <a:lnTo>
                  <a:pt x="66420" y="293240"/>
                </a:lnTo>
                <a:cubicBezTo>
                  <a:pt x="65303" y="294795"/>
                  <a:pt x="63559" y="295781"/>
                  <a:pt x="61645" y="295938"/>
                </a:cubicBezTo>
                <a:cubicBezTo>
                  <a:pt x="59731" y="296069"/>
                  <a:pt x="57856" y="295396"/>
                  <a:pt x="56497" y="294044"/>
                </a:cubicBezTo>
                <a:lnTo>
                  <a:pt x="30145" y="267698"/>
                </a:lnTo>
                <a:cubicBezTo>
                  <a:pt x="28270" y="265830"/>
                  <a:pt x="27715" y="263008"/>
                  <a:pt x="28734" y="260564"/>
                </a:cubicBezTo>
                <a:lnTo>
                  <a:pt x="83261" y="129841"/>
                </a:lnTo>
                <a:cubicBezTo>
                  <a:pt x="81412" y="128019"/>
                  <a:pt x="79577" y="126203"/>
                  <a:pt x="77767" y="124393"/>
                </a:cubicBezTo>
                <a:cubicBezTo>
                  <a:pt x="45451" y="92076"/>
                  <a:pt x="22952" y="65809"/>
                  <a:pt x="10906" y="46329"/>
                </a:cubicBezTo>
                <a:cubicBezTo>
                  <a:pt x="6419" y="39071"/>
                  <a:pt x="-7228" y="17004"/>
                  <a:pt x="4903" y="4880"/>
                </a:cubicBezTo>
                <a:cubicBezTo>
                  <a:pt x="7131" y="2652"/>
                  <a:pt x="11135" y="0"/>
                  <a:pt x="17570" y="0"/>
                </a:cubicBezTo>
                <a:cubicBezTo>
                  <a:pt x="37154" y="0"/>
                  <a:pt x="72103" y="25431"/>
                  <a:pt x="124416" y="77744"/>
                </a:cubicBezTo>
                <a:cubicBezTo>
                  <a:pt x="126226" y="79547"/>
                  <a:pt x="128048" y="81383"/>
                  <a:pt x="129871" y="83238"/>
                </a:cubicBezTo>
                <a:lnTo>
                  <a:pt x="260588" y="28704"/>
                </a:lnTo>
                <a:cubicBezTo>
                  <a:pt x="263011" y="27685"/>
                  <a:pt x="265840" y="28234"/>
                  <a:pt x="267721" y="30115"/>
                </a:cubicBezTo>
                <a:lnTo>
                  <a:pt x="294080" y="56467"/>
                </a:lnTo>
                <a:cubicBezTo>
                  <a:pt x="295432" y="57820"/>
                  <a:pt x="296125" y="59701"/>
                  <a:pt x="295974" y="61615"/>
                </a:cubicBezTo>
                <a:cubicBezTo>
                  <a:pt x="295818" y="63523"/>
                  <a:pt x="294831" y="65273"/>
                  <a:pt x="293276" y="66390"/>
                </a:cubicBezTo>
                <a:lnTo>
                  <a:pt x="186071" y="143566"/>
                </a:lnTo>
                <a:cubicBezTo>
                  <a:pt x="203362" y="163183"/>
                  <a:pt x="218929" y="181899"/>
                  <a:pt x="231505" y="198185"/>
                </a:cubicBezTo>
                <a:lnTo>
                  <a:pt x="287489" y="182611"/>
                </a:lnTo>
                <a:cubicBezTo>
                  <a:pt x="289736" y="181991"/>
                  <a:pt x="292186" y="182618"/>
                  <a:pt x="293858" y="184290"/>
                </a:cubicBezTo>
                <a:lnTo>
                  <a:pt x="311679" y="202104"/>
                </a:lnTo>
                <a:cubicBezTo>
                  <a:pt x="313083" y="203509"/>
                  <a:pt x="313769" y="205469"/>
                  <a:pt x="313554" y="207435"/>
                </a:cubicBezTo>
                <a:cubicBezTo>
                  <a:pt x="313338" y="209401"/>
                  <a:pt x="312234" y="211172"/>
                  <a:pt x="310562" y="212236"/>
                </a:cubicBezTo>
                <a:lnTo>
                  <a:pt x="261463" y="243390"/>
                </a:lnTo>
                <a:cubicBezTo>
                  <a:pt x="264527" y="250204"/>
                  <a:pt x="265996" y="257004"/>
                  <a:pt x="261541" y="261492"/>
                </a:cubicBezTo>
                <a:cubicBezTo>
                  <a:pt x="259190" y="263818"/>
                  <a:pt x="253460" y="265908"/>
                  <a:pt x="243433" y="261427"/>
                </a:cubicBezTo>
                <a:lnTo>
                  <a:pt x="212273" y="310538"/>
                </a:lnTo>
                <a:cubicBezTo>
                  <a:pt x="211208" y="312211"/>
                  <a:pt x="209438" y="313315"/>
                  <a:pt x="207478" y="313530"/>
                </a:cubicBezTo>
                <a:cubicBezTo>
                  <a:pt x="207236" y="313550"/>
                  <a:pt x="206994" y="313563"/>
                  <a:pt x="206753" y="313563"/>
                </a:cubicBezTo>
                <a:close/>
                <a:moveTo>
                  <a:pt x="196255" y="287296"/>
                </a:moveTo>
                <a:lnTo>
                  <a:pt x="205609" y="296650"/>
                </a:lnTo>
                <a:lnTo>
                  <a:pt x="235548" y="249459"/>
                </a:lnTo>
                <a:cubicBezTo>
                  <a:pt x="237384" y="246578"/>
                  <a:pt x="241153" y="245592"/>
                  <a:pt x="244165" y="247212"/>
                </a:cubicBezTo>
                <a:cubicBezTo>
                  <a:pt x="246680" y="248564"/>
                  <a:pt x="248626" y="249466"/>
                  <a:pt x="250096" y="250066"/>
                </a:cubicBezTo>
                <a:cubicBezTo>
                  <a:pt x="249495" y="248590"/>
                  <a:pt x="248600" y="246650"/>
                  <a:pt x="247242" y="244135"/>
                </a:cubicBezTo>
                <a:cubicBezTo>
                  <a:pt x="245615" y="241117"/>
                  <a:pt x="246595" y="237354"/>
                  <a:pt x="249489" y="235518"/>
                </a:cubicBezTo>
                <a:lnTo>
                  <a:pt x="296673" y="205580"/>
                </a:lnTo>
                <a:lnTo>
                  <a:pt x="287319" y="196232"/>
                </a:lnTo>
                <a:lnTo>
                  <a:pt x="230753" y="211962"/>
                </a:lnTo>
                <a:cubicBezTo>
                  <a:pt x="228186" y="212668"/>
                  <a:pt x="225429" y="211746"/>
                  <a:pt x="223809" y="209630"/>
                </a:cubicBezTo>
                <a:cubicBezTo>
                  <a:pt x="209875" y="191332"/>
                  <a:pt x="191800" y="169625"/>
                  <a:pt x="171509" y="146839"/>
                </a:cubicBezTo>
                <a:cubicBezTo>
                  <a:pt x="170281" y="145461"/>
                  <a:pt x="169693" y="143618"/>
                  <a:pt x="169896" y="141783"/>
                </a:cubicBezTo>
                <a:cubicBezTo>
                  <a:pt x="170098" y="139941"/>
                  <a:pt x="171072" y="138275"/>
                  <a:pt x="172574" y="137197"/>
                </a:cubicBezTo>
                <a:lnTo>
                  <a:pt x="279408" y="60282"/>
                </a:lnTo>
                <a:lnTo>
                  <a:pt x="261580" y="42455"/>
                </a:lnTo>
                <a:lnTo>
                  <a:pt x="130831" y="97002"/>
                </a:lnTo>
                <a:cubicBezTo>
                  <a:pt x="128375" y="98028"/>
                  <a:pt x="125527" y="97453"/>
                  <a:pt x="123652" y="95552"/>
                </a:cubicBezTo>
                <a:cubicBezTo>
                  <a:pt x="120810" y="92664"/>
                  <a:pt x="117995" y="89797"/>
                  <a:pt x="115186" y="86994"/>
                </a:cubicBezTo>
                <a:cubicBezTo>
                  <a:pt x="50860" y="22668"/>
                  <a:pt x="26421" y="13065"/>
                  <a:pt x="17570" y="13065"/>
                </a:cubicBezTo>
                <a:cubicBezTo>
                  <a:pt x="15192" y="13065"/>
                  <a:pt x="14427" y="13829"/>
                  <a:pt x="14140" y="14117"/>
                </a:cubicBezTo>
                <a:cubicBezTo>
                  <a:pt x="11919" y="16338"/>
                  <a:pt x="12644" y="24308"/>
                  <a:pt x="22018" y="39457"/>
                </a:cubicBezTo>
                <a:cubicBezTo>
                  <a:pt x="33535" y="58081"/>
                  <a:pt x="55400" y="83551"/>
                  <a:pt x="87011" y="115156"/>
                </a:cubicBezTo>
                <a:cubicBezTo>
                  <a:pt x="89820" y="117972"/>
                  <a:pt x="92681" y="120787"/>
                  <a:pt x="95568" y="123622"/>
                </a:cubicBezTo>
                <a:cubicBezTo>
                  <a:pt x="97476" y="125491"/>
                  <a:pt x="98044" y="128332"/>
                  <a:pt x="97019" y="130795"/>
                </a:cubicBezTo>
                <a:lnTo>
                  <a:pt x="42478" y="261551"/>
                </a:lnTo>
                <a:lnTo>
                  <a:pt x="60306" y="279378"/>
                </a:lnTo>
                <a:lnTo>
                  <a:pt x="137207" y="172558"/>
                </a:lnTo>
                <a:cubicBezTo>
                  <a:pt x="138291" y="171055"/>
                  <a:pt x="139951" y="170082"/>
                  <a:pt x="141793" y="169879"/>
                </a:cubicBezTo>
                <a:cubicBezTo>
                  <a:pt x="143615" y="169696"/>
                  <a:pt x="145471" y="170265"/>
                  <a:pt x="146849" y="171493"/>
                </a:cubicBezTo>
                <a:cubicBezTo>
                  <a:pt x="169693" y="191822"/>
                  <a:pt x="191408" y="209904"/>
                  <a:pt x="209647" y="223779"/>
                </a:cubicBezTo>
                <a:cubicBezTo>
                  <a:pt x="211776" y="225400"/>
                  <a:pt x="212704" y="228156"/>
                  <a:pt x="211985" y="230724"/>
                </a:cubicBezTo>
                <a:lnTo>
                  <a:pt x="196255" y="287296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69" name="Группа 168">
            <a:extLst>
              <a:ext uri="{FF2B5EF4-FFF2-40B4-BE49-F238E27FC236}">
                <a16:creationId xmlns="" xmlns:a16="http://schemas.microsoft.com/office/drawing/2014/main" id="{7524B76C-A0E7-43CE-B1EC-F8406C4E02E4}"/>
              </a:ext>
            </a:extLst>
          </p:cNvPr>
          <p:cNvGrpSpPr>
            <a:grpSpLocks noChangeAspect="1"/>
          </p:cNvGrpSpPr>
          <p:nvPr/>
        </p:nvGrpSpPr>
        <p:grpSpPr>
          <a:xfrm>
            <a:off x="9138422" y="5999918"/>
            <a:ext cx="258391" cy="258878"/>
            <a:chOff x="7800025" y="1261086"/>
            <a:chExt cx="293199" cy="293752"/>
          </a:xfrm>
          <a:solidFill>
            <a:schemeClr val="tx2"/>
          </a:solidFill>
        </p:grpSpPr>
        <p:sp>
          <p:nvSpPr>
            <p:cNvPr id="170" name="Полилиния: фигура 1634">
              <a:extLst>
                <a:ext uri="{FF2B5EF4-FFF2-40B4-BE49-F238E27FC236}">
                  <a16:creationId xmlns="" xmlns:a16="http://schemas.microsoft.com/office/drawing/2014/main" id="{0289CA0F-70B5-4770-BF3D-844AC205AFE2}"/>
                </a:ext>
              </a:extLst>
            </p:cNvPr>
            <p:cNvSpPr/>
            <p:nvPr/>
          </p:nvSpPr>
          <p:spPr>
            <a:xfrm>
              <a:off x="7859598" y="1297118"/>
              <a:ext cx="174664" cy="117868"/>
            </a:xfrm>
            <a:custGeom>
              <a:avLst/>
              <a:gdLst>
                <a:gd name="connsiteX0" fmla="*/ 31452 w 219394"/>
                <a:gd name="connsiteY0" fmla="*/ 148053 h 148053"/>
                <a:gd name="connsiteX1" fmla="*/ 187943 w 219394"/>
                <a:gd name="connsiteY1" fmla="*/ 148053 h 148053"/>
                <a:gd name="connsiteX2" fmla="*/ 219395 w 219394"/>
                <a:gd name="connsiteY2" fmla="*/ 116601 h 148053"/>
                <a:gd name="connsiteX3" fmla="*/ 219395 w 219394"/>
                <a:gd name="connsiteY3" fmla="*/ 31452 h 148053"/>
                <a:gd name="connsiteX4" fmla="*/ 187943 w 219394"/>
                <a:gd name="connsiteY4" fmla="*/ 0 h 148053"/>
                <a:gd name="connsiteX5" fmla="*/ 31452 w 219394"/>
                <a:gd name="connsiteY5" fmla="*/ 0 h 148053"/>
                <a:gd name="connsiteX6" fmla="*/ 0 w 219394"/>
                <a:gd name="connsiteY6" fmla="*/ 31452 h 148053"/>
                <a:gd name="connsiteX7" fmla="*/ 0 w 219394"/>
                <a:gd name="connsiteY7" fmla="*/ 117368 h 148053"/>
                <a:gd name="connsiteX8" fmla="*/ 31452 w 219394"/>
                <a:gd name="connsiteY8" fmla="*/ 148053 h 148053"/>
                <a:gd name="connsiteX9" fmla="*/ 15342 w 219394"/>
                <a:gd name="connsiteY9" fmla="*/ 31452 h 148053"/>
                <a:gd name="connsiteX10" fmla="*/ 31452 w 219394"/>
                <a:gd name="connsiteY10" fmla="*/ 15342 h 148053"/>
                <a:gd name="connsiteX11" fmla="*/ 187943 w 219394"/>
                <a:gd name="connsiteY11" fmla="*/ 15342 h 148053"/>
                <a:gd name="connsiteX12" fmla="*/ 204053 w 219394"/>
                <a:gd name="connsiteY12" fmla="*/ 31452 h 148053"/>
                <a:gd name="connsiteX13" fmla="*/ 204053 w 219394"/>
                <a:gd name="connsiteY13" fmla="*/ 117368 h 148053"/>
                <a:gd name="connsiteX14" fmla="*/ 187943 w 219394"/>
                <a:gd name="connsiteY14" fmla="*/ 133478 h 148053"/>
                <a:gd name="connsiteX15" fmla="*/ 31452 w 219394"/>
                <a:gd name="connsiteY15" fmla="*/ 133478 h 148053"/>
                <a:gd name="connsiteX16" fmla="*/ 15342 w 219394"/>
                <a:gd name="connsiteY16" fmla="*/ 117368 h 148053"/>
                <a:gd name="connsiteX17" fmla="*/ 15342 w 219394"/>
                <a:gd name="connsiteY17" fmla="*/ 31452 h 148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394" h="148053">
                  <a:moveTo>
                    <a:pt x="31452" y="148053"/>
                  </a:moveTo>
                  <a:lnTo>
                    <a:pt x="187943" y="148053"/>
                  </a:lnTo>
                  <a:cubicBezTo>
                    <a:pt x="204820" y="148053"/>
                    <a:pt x="219395" y="134245"/>
                    <a:pt x="219395" y="116601"/>
                  </a:cubicBezTo>
                  <a:lnTo>
                    <a:pt x="219395" y="31452"/>
                  </a:lnTo>
                  <a:cubicBezTo>
                    <a:pt x="219395" y="14575"/>
                    <a:pt x="205587" y="0"/>
                    <a:pt x="187943" y="0"/>
                  </a:cubicBezTo>
                  <a:lnTo>
                    <a:pt x="31452" y="0"/>
                  </a:lnTo>
                  <a:cubicBezTo>
                    <a:pt x="14575" y="0"/>
                    <a:pt x="0" y="13808"/>
                    <a:pt x="0" y="31452"/>
                  </a:cubicBezTo>
                  <a:lnTo>
                    <a:pt x="0" y="117368"/>
                  </a:lnTo>
                  <a:cubicBezTo>
                    <a:pt x="0" y="134245"/>
                    <a:pt x="14575" y="148053"/>
                    <a:pt x="31452" y="148053"/>
                  </a:cubicBezTo>
                  <a:close/>
                  <a:moveTo>
                    <a:pt x="15342" y="31452"/>
                  </a:moveTo>
                  <a:cubicBezTo>
                    <a:pt x="15342" y="23013"/>
                    <a:pt x="22246" y="15342"/>
                    <a:pt x="31452" y="15342"/>
                  </a:cubicBezTo>
                  <a:lnTo>
                    <a:pt x="187943" y="15342"/>
                  </a:lnTo>
                  <a:cubicBezTo>
                    <a:pt x="196382" y="15342"/>
                    <a:pt x="204053" y="22246"/>
                    <a:pt x="204053" y="31452"/>
                  </a:cubicBezTo>
                  <a:lnTo>
                    <a:pt x="204053" y="117368"/>
                  </a:lnTo>
                  <a:cubicBezTo>
                    <a:pt x="204053" y="125807"/>
                    <a:pt x="197148" y="133478"/>
                    <a:pt x="187943" y="133478"/>
                  </a:cubicBezTo>
                  <a:lnTo>
                    <a:pt x="31452" y="133478"/>
                  </a:lnTo>
                  <a:cubicBezTo>
                    <a:pt x="23013" y="133478"/>
                    <a:pt x="15342" y="126574"/>
                    <a:pt x="15342" y="117368"/>
                  </a:cubicBezTo>
                  <a:lnTo>
                    <a:pt x="15342" y="31452"/>
                  </a:lnTo>
                  <a:close/>
                </a:path>
              </a:pathLst>
            </a:custGeom>
            <a:grpFill/>
            <a:ln w="76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1" name="Полилиния: фигура 1635">
              <a:extLst>
                <a:ext uri="{FF2B5EF4-FFF2-40B4-BE49-F238E27FC236}">
                  <a16:creationId xmlns="" xmlns:a16="http://schemas.microsoft.com/office/drawing/2014/main" id="{BD7664E5-314B-4414-9F2D-402CE9AF2078}"/>
                </a:ext>
              </a:extLst>
            </p:cNvPr>
            <p:cNvSpPr/>
            <p:nvPr/>
          </p:nvSpPr>
          <p:spPr>
            <a:xfrm>
              <a:off x="7800025" y="1261086"/>
              <a:ext cx="293199" cy="293752"/>
            </a:xfrm>
            <a:custGeom>
              <a:avLst/>
              <a:gdLst>
                <a:gd name="connsiteX0" fmla="*/ 8090 w 368286"/>
                <a:gd name="connsiteY0" fmla="*/ 368982 h 368981"/>
                <a:gd name="connsiteX1" fmla="*/ 12693 w 368286"/>
                <a:gd name="connsiteY1" fmla="*/ 367448 h 368981"/>
                <a:gd name="connsiteX2" fmla="*/ 24967 w 368286"/>
                <a:gd name="connsiteY2" fmla="*/ 357475 h 368981"/>
                <a:gd name="connsiteX3" fmla="*/ 343319 w 368286"/>
                <a:gd name="connsiteY3" fmla="*/ 357475 h 368981"/>
                <a:gd name="connsiteX4" fmla="*/ 355593 w 368286"/>
                <a:gd name="connsiteY4" fmla="*/ 367448 h 368981"/>
                <a:gd name="connsiteX5" fmla="*/ 360196 w 368286"/>
                <a:gd name="connsiteY5" fmla="*/ 368982 h 368981"/>
                <a:gd name="connsiteX6" fmla="*/ 366332 w 368286"/>
                <a:gd name="connsiteY6" fmla="*/ 365913 h 368981"/>
                <a:gd name="connsiteX7" fmla="*/ 365565 w 368286"/>
                <a:gd name="connsiteY7" fmla="*/ 355174 h 368981"/>
                <a:gd name="connsiteX8" fmla="*/ 301895 w 368286"/>
                <a:gd name="connsiteY8" fmla="*/ 303010 h 368981"/>
                <a:gd name="connsiteX9" fmla="*/ 325675 w 368286"/>
                <a:gd name="connsiteY9" fmla="*/ 288435 h 368981"/>
                <a:gd name="connsiteX10" fmla="*/ 340251 w 368286"/>
                <a:gd name="connsiteY10" fmla="*/ 249312 h 368981"/>
                <a:gd name="connsiteX11" fmla="*/ 331812 w 368286"/>
                <a:gd name="connsiteY11" fmla="*/ 54465 h 368981"/>
                <a:gd name="connsiteX12" fmla="*/ 275046 w 368286"/>
                <a:gd name="connsiteY12" fmla="*/ 0 h 368981"/>
                <a:gd name="connsiteX13" fmla="*/ 92473 w 368286"/>
                <a:gd name="connsiteY13" fmla="*/ 0 h 368981"/>
                <a:gd name="connsiteX14" fmla="*/ 35706 w 368286"/>
                <a:gd name="connsiteY14" fmla="*/ 54465 h 368981"/>
                <a:gd name="connsiteX15" fmla="*/ 28035 w 368286"/>
                <a:gd name="connsiteY15" fmla="*/ 250079 h 368981"/>
                <a:gd name="connsiteX16" fmla="*/ 42611 w 368286"/>
                <a:gd name="connsiteY16" fmla="*/ 289202 h 368981"/>
                <a:gd name="connsiteX17" fmla="*/ 66391 w 368286"/>
                <a:gd name="connsiteY17" fmla="*/ 303777 h 368981"/>
                <a:gd name="connsiteX18" fmla="*/ 2721 w 368286"/>
                <a:gd name="connsiteY18" fmla="*/ 355941 h 368981"/>
                <a:gd name="connsiteX19" fmla="*/ 1953 w 368286"/>
                <a:gd name="connsiteY19" fmla="*/ 366681 h 368981"/>
                <a:gd name="connsiteX20" fmla="*/ 8090 w 368286"/>
                <a:gd name="connsiteY20" fmla="*/ 368982 h 368981"/>
                <a:gd name="connsiteX21" fmla="*/ 44144 w 368286"/>
                <a:gd name="connsiteY21" fmla="*/ 341366 h 368981"/>
                <a:gd name="connsiteX22" fmla="*/ 88637 w 368286"/>
                <a:gd name="connsiteY22" fmla="*/ 304544 h 368981"/>
                <a:gd name="connsiteX23" fmla="*/ 280416 w 368286"/>
                <a:gd name="connsiteY23" fmla="*/ 304544 h 368981"/>
                <a:gd name="connsiteX24" fmla="*/ 324909 w 368286"/>
                <a:gd name="connsiteY24" fmla="*/ 341366 h 368981"/>
                <a:gd name="connsiteX25" fmla="*/ 44144 w 368286"/>
                <a:gd name="connsiteY25" fmla="*/ 341366 h 368981"/>
                <a:gd name="connsiteX26" fmla="*/ 43378 w 368286"/>
                <a:gd name="connsiteY26" fmla="*/ 250079 h 368981"/>
                <a:gd name="connsiteX27" fmla="*/ 51816 w 368286"/>
                <a:gd name="connsiteY27" fmla="*/ 55232 h 368981"/>
                <a:gd name="connsiteX28" fmla="*/ 93240 w 368286"/>
                <a:gd name="connsiteY28" fmla="*/ 15342 h 368981"/>
                <a:gd name="connsiteX29" fmla="*/ 275813 w 368286"/>
                <a:gd name="connsiteY29" fmla="*/ 15342 h 368981"/>
                <a:gd name="connsiteX30" fmla="*/ 317237 w 368286"/>
                <a:gd name="connsiteY30" fmla="*/ 55232 h 368981"/>
                <a:gd name="connsiteX31" fmla="*/ 325675 w 368286"/>
                <a:gd name="connsiteY31" fmla="*/ 250079 h 368981"/>
                <a:gd name="connsiteX32" fmla="*/ 325675 w 368286"/>
                <a:gd name="connsiteY32" fmla="*/ 250079 h 368981"/>
                <a:gd name="connsiteX33" fmla="*/ 315703 w 368286"/>
                <a:gd name="connsiteY33" fmla="*/ 277695 h 368981"/>
                <a:gd name="connsiteX34" fmla="*/ 288854 w 368286"/>
                <a:gd name="connsiteY34" fmla="*/ 289202 h 368981"/>
                <a:gd name="connsiteX35" fmla="*/ 81733 w 368286"/>
                <a:gd name="connsiteY35" fmla="*/ 289202 h 368981"/>
                <a:gd name="connsiteX36" fmla="*/ 54884 w 368286"/>
                <a:gd name="connsiteY36" fmla="*/ 277695 h 368981"/>
                <a:gd name="connsiteX37" fmla="*/ 43378 w 368286"/>
                <a:gd name="connsiteY37" fmla="*/ 250079 h 36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68286" h="368981">
                  <a:moveTo>
                    <a:pt x="8090" y="368982"/>
                  </a:moveTo>
                  <a:cubicBezTo>
                    <a:pt x="9624" y="368982"/>
                    <a:pt x="11159" y="368215"/>
                    <a:pt x="12693" y="367448"/>
                  </a:cubicBezTo>
                  <a:lnTo>
                    <a:pt x="24967" y="357475"/>
                  </a:lnTo>
                  <a:lnTo>
                    <a:pt x="343319" y="357475"/>
                  </a:lnTo>
                  <a:lnTo>
                    <a:pt x="355593" y="367448"/>
                  </a:lnTo>
                  <a:cubicBezTo>
                    <a:pt x="357127" y="368982"/>
                    <a:pt x="358661" y="368982"/>
                    <a:pt x="360196" y="368982"/>
                  </a:cubicBezTo>
                  <a:cubicBezTo>
                    <a:pt x="362497" y="368982"/>
                    <a:pt x="364799" y="368215"/>
                    <a:pt x="366332" y="365913"/>
                  </a:cubicBezTo>
                  <a:cubicBezTo>
                    <a:pt x="369401" y="362845"/>
                    <a:pt x="368634" y="357475"/>
                    <a:pt x="365565" y="355174"/>
                  </a:cubicBezTo>
                  <a:lnTo>
                    <a:pt x="301895" y="303010"/>
                  </a:lnTo>
                  <a:cubicBezTo>
                    <a:pt x="311101" y="300709"/>
                    <a:pt x="319539" y="295339"/>
                    <a:pt x="325675" y="288435"/>
                  </a:cubicBezTo>
                  <a:cubicBezTo>
                    <a:pt x="335648" y="277695"/>
                    <a:pt x="341018" y="263887"/>
                    <a:pt x="340251" y="249312"/>
                  </a:cubicBezTo>
                  <a:lnTo>
                    <a:pt x="331812" y="54465"/>
                  </a:lnTo>
                  <a:cubicBezTo>
                    <a:pt x="330278" y="24548"/>
                    <a:pt x="304963" y="0"/>
                    <a:pt x="275046" y="0"/>
                  </a:cubicBezTo>
                  <a:lnTo>
                    <a:pt x="92473" y="0"/>
                  </a:lnTo>
                  <a:cubicBezTo>
                    <a:pt x="62555" y="0"/>
                    <a:pt x="37241" y="24548"/>
                    <a:pt x="35706" y="54465"/>
                  </a:cubicBezTo>
                  <a:lnTo>
                    <a:pt x="28035" y="250079"/>
                  </a:lnTo>
                  <a:cubicBezTo>
                    <a:pt x="27268" y="264654"/>
                    <a:pt x="32638" y="278462"/>
                    <a:pt x="42611" y="289202"/>
                  </a:cubicBezTo>
                  <a:cubicBezTo>
                    <a:pt x="49514" y="296106"/>
                    <a:pt x="57186" y="300709"/>
                    <a:pt x="66391" y="303777"/>
                  </a:cubicBezTo>
                  <a:lnTo>
                    <a:pt x="2721" y="355941"/>
                  </a:lnTo>
                  <a:cubicBezTo>
                    <a:pt x="-348" y="359009"/>
                    <a:pt x="-1115" y="363612"/>
                    <a:pt x="1953" y="366681"/>
                  </a:cubicBezTo>
                  <a:cubicBezTo>
                    <a:pt x="3488" y="367448"/>
                    <a:pt x="5789" y="368982"/>
                    <a:pt x="8090" y="368982"/>
                  </a:cubicBezTo>
                  <a:close/>
                  <a:moveTo>
                    <a:pt x="44144" y="341366"/>
                  </a:moveTo>
                  <a:lnTo>
                    <a:pt x="88637" y="304544"/>
                  </a:lnTo>
                  <a:lnTo>
                    <a:pt x="280416" y="304544"/>
                  </a:lnTo>
                  <a:lnTo>
                    <a:pt x="324909" y="341366"/>
                  </a:lnTo>
                  <a:lnTo>
                    <a:pt x="44144" y="341366"/>
                  </a:lnTo>
                  <a:close/>
                  <a:moveTo>
                    <a:pt x="43378" y="250079"/>
                  </a:moveTo>
                  <a:lnTo>
                    <a:pt x="51816" y="55232"/>
                  </a:lnTo>
                  <a:cubicBezTo>
                    <a:pt x="52583" y="32986"/>
                    <a:pt x="70993" y="15342"/>
                    <a:pt x="93240" y="15342"/>
                  </a:cubicBezTo>
                  <a:lnTo>
                    <a:pt x="275813" y="15342"/>
                  </a:lnTo>
                  <a:cubicBezTo>
                    <a:pt x="298060" y="15342"/>
                    <a:pt x="316470" y="32986"/>
                    <a:pt x="317237" y="55232"/>
                  </a:cubicBezTo>
                  <a:lnTo>
                    <a:pt x="325675" y="250079"/>
                  </a:lnTo>
                  <a:lnTo>
                    <a:pt x="325675" y="250079"/>
                  </a:lnTo>
                  <a:cubicBezTo>
                    <a:pt x="326443" y="260819"/>
                    <a:pt x="322607" y="270024"/>
                    <a:pt x="315703" y="277695"/>
                  </a:cubicBezTo>
                  <a:cubicBezTo>
                    <a:pt x="308799" y="285366"/>
                    <a:pt x="298826" y="289202"/>
                    <a:pt x="288854" y="289202"/>
                  </a:cubicBezTo>
                  <a:lnTo>
                    <a:pt x="81733" y="289202"/>
                  </a:lnTo>
                  <a:cubicBezTo>
                    <a:pt x="70993" y="289202"/>
                    <a:pt x="61788" y="285366"/>
                    <a:pt x="54884" y="277695"/>
                  </a:cubicBezTo>
                  <a:cubicBezTo>
                    <a:pt x="46446" y="270791"/>
                    <a:pt x="43378" y="260819"/>
                    <a:pt x="43378" y="250079"/>
                  </a:cubicBezTo>
                  <a:close/>
                </a:path>
              </a:pathLst>
            </a:custGeom>
            <a:grpFill/>
            <a:ln w="76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24828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АС: реальность или далекая логистическая перспектива?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9D5186-85BD-4647-9A01-8226F56382D2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102286065"/>
              </p:ext>
            </p:extLst>
          </p:nvPr>
        </p:nvGraphicFramePr>
        <p:xfrm>
          <a:off x="116246" y="1521454"/>
          <a:ext cx="9710142" cy="47633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Овал 6"/>
          <p:cNvSpPr/>
          <p:nvPr/>
        </p:nvSpPr>
        <p:spPr>
          <a:xfrm>
            <a:off x="520995" y="5017807"/>
            <a:ext cx="871870" cy="888862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TextBox 10"/>
          <p:cNvSpPr txBox="1"/>
          <p:nvPr/>
        </p:nvSpPr>
        <p:spPr>
          <a:xfrm>
            <a:off x="669703" y="1970467"/>
            <a:ext cx="373487" cy="3606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ru-RU" sz="2400" dirty="0" smtClean="0">
                <a:solidFill>
                  <a:schemeClr val="bg1"/>
                </a:solidFill>
              </a:rPr>
              <a:t>1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59100" y="3026535"/>
            <a:ext cx="373487" cy="3606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2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1184857" y="4224270"/>
            <a:ext cx="373487" cy="3606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3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865193" y="5276493"/>
            <a:ext cx="373487" cy="3606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94370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0863" y="481587"/>
            <a:ext cx="10150475" cy="369332"/>
          </a:xfrm>
        </p:spPr>
        <p:txBody>
          <a:bodyPr/>
          <a:lstStyle/>
          <a:p>
            <a:pPr lvl="0">
              <a:spcBef>
                <a:spcPts val="0"/>
              </a:spcBef>
              <a:defRPr/>
            </a:pPr>
            <a:r>
              <a:rPr lang="ru-RU" dirty="0" smtClean="0">
                <a:latin typeface="+mn-lt"/>
                <a:cs typeface="Times New Roman" panose="02020603050405020304" pitchFamily="18" charset="0"/>
              </a:rPr>
              <a:t>Варианты экспериментальной </a:t>
            </a:r>
            <a:r>
              <a:rPr lang="ru-RU" dirty="0">
                <a:latin typeface="+mn-lt"/>
                <a:cs typeface="Times New Roman" panose="02020603050405020304" pitchFamily="18" charset="0"/>
              </a:rPr>
              <a:t>маршрутная сеть</a:t>
            </a:r>
            <a:endParaRPr lang="en-US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9D5186-85BD-4647-9A01-8226F56382D2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537" y="1528054"/>
            <a:ext cx="2918109" cy="1710442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954" y="3235306"/>
            <a:ext cx="2918110" cy="1938867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616" y="1521997"/>
            <a:ext cx="2920460" cy="1710439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0645" y="3260382"/>
            <a:ext cx="2920461" cy="1911339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8754" y="1514475"/>
            <a:ext cx="2882087" cy="1751549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563" y="3266024"/>
            <a:ext cx="2882086" cy="1911338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7053" y="1504950"/>
            <a:ext cx="2864001" cy="1761075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1649" y="3266024"/>
            <a:ext cx="2864000" cy="1911338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1367766" y="1202235"/>
            <a:ext cx="6669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 Bold"/>
                <a:ea typeface="+mn-ea"/>
                <a:cs typeface="+mn-cs"/>
              </a:rPr>
              <a:t>ЧАО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200063" y="1195877"/>
            <a:ext cx="8592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Bold"/>
                <a:ea typeface="+mn-ea"/>
                <a:cs typeface="+mn-cs"/>
              </a:rPr>
              <a:t>ХМАО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934726" y="1193887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Bold"/>
                <a:ea typeface="+mn-ea"/>
                <a:cs typeface="+mn-cs"/>
              </a:rPr>
              <a:t>Камчатк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972722" y="1193887"/>
            <a:ext cx="8464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Bold"/>
                <a:ea typeface="+mn-ea"/>
                <a:cs typeface="+mn-cs"/>
              </a:rPr>
              <a:t>ЯНАО</a:t>
            </a:r>
          </a:p>
        </p:txBody>
      </p:sp>
    </p:spTree>
    <p:extLst>
      <p:ext uri="{BB962C8B-B14F-4D97-AF65-F5344CB8AC3E}">
        <p14:creationId xmlns:p14="http://schemas.microsoft.com/office/powerpoint/2010/main" val="41385577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крупненные этапы реализации проекта внедрения БАС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9D5186-85BD-4647-9A01-8226F56382D2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810253" y="1096975"/>
            <a:ext cx="3521370" cy="5314950"/>
          </a:xfrm>
          <a:prstGeom prst="rect">
            <a:avLst/>
          </a:prstGeom>
          <a:solidFill>
            <a:schemeClr val="bg1">
              <a:lumMod val="65000"/>
              <a:alpha val="20000"/>
            </a:schemeClr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15997" y="1090968"/>
            <a:ext cx="4067175" cy="5314950"/>
          </a:xfrm>
          <a:prstGeom prst="rect">
            <a:avLst/>
          </a:prstGeom>
          <a:solidFill>
            <a:schemeClr val="bg1">
              <a:lumMod val="65000"/>
              <a:alpha val="20000"/>
            </a:schemeClr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2905390" y="2111870"/>
            <a:ext cx="1539276" cy="1021358"/>
            <a:chOff x="0" y="1703982"/>
            <a:chExt cx="2963292" cy="696823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0" y="1703982"/>
              <a:ext cx="2963292" cy="69682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TextBox 8"/>
            <p:cNvSpPr txBox="1"/>
            <p:nvPr/>
          </p:nvSpPr>
          <p:spPr>
            <a:xfrm>
              <a:off x="0" y="1703982"/>
              <a:ext cx="2963292" cy="69682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Экспериментальная маршрутная сеть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763790" y="2111870"/>
            <a:ext cx="1883444" cy="1021358"/>
            <a:chOff x="0" y="3073272"/>
            <a:chExt cx="1883444" cy="1021358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3073272"/>
              <a:ext cx="1883444" cy="1021358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TextBox 11"/>
            <p:cNvSpPr txBox="1"/>
            <p:nvPr/>
          </p:nvSpPr>
          <p:spPr>
            <a:xfrm>
              <a:off x="0" y="3073272"/>
              <a:ext cx="1883444" cy="102135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/>
                <a:t>Установление экспериментального правового режима в экспериментальной маршрутной сети</a:t>
              </a: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763790" y="3419334"/>
            <a:ext cx="3680876" cy="516914"/>
            <a:chOff x="4514554" y="1667115"/>
            <a:chExt cx="2307518" cy="516914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4514554" y="1667115"/>
              <a:ext cx="2307518" cy="516914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TextBox 14"/>
            <p:cNvSpPr txBox="1"/>
            <p:nvPr/>
          </p:nvSpPr>
          <p:spPr>
            <a:xfrm>
              <a:off x="4514554" y="1667115"/>
              <a:ext cx="2307518" cy="51691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dirty="0" smtClean="0"/>
                <a:t>Испытания</a:t>
              </a:r>
              <a:endParaRPr lang="ru-RU" sz="2000" kern="1200" dirty="0" smtClean="0"/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763790" y="4202746"/>
            <a:ext cx="1883444" cy="652067"/>
            <a:chOff x="2659170" y="2457793"/>
            <a:chExt cx="2792088" cy="486013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2659170" y="2457793"/>
              <a:ext cx="2792088" cy="48601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TextBox 17"/>
            <p:cNvSpPr txBox="1"/>
            <p:nvPr/>
          </p:nvSpPr>
          <p:spPr>
            <a:xfrm>
              <a:off x="2659170" y="2457793"/>
              <a:ext cx="2792088" cy="48601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Полеты на дальность</a:t>
              </a:r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( </a:t>
              </a:r>
              <a:r>
                <a:rPr lang="en-US" sz="1200" kern="1200" dirty="0" smtClean="0"/>
                <a:t>I </a:t>
              </a:r>
              <a:r>
                <a:rPr lang="ru-RU" sz="1200" kern="1200" dirty="0" smtClean="0"/>
                <a:t>этап )</a:t>
              </a:r>
              <a:endParaRPr lang="ru-RU" sz="1200" kern="1200" dirty="0"/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2742079" y="4202746"/>
            <a:ext cx="1702588" cy="652067"/>
            <a:chOff x="5271767" y="3047087"/>
            <a:chExt cx="2356665" cy="1037981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5271767" y="3047087"/>
              <a:ext cx="2356665" cy="1037981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TextBox 20"/>
            <p:cNvSpPr txBox="1"/>
            <p:nvPr/>
          </p:nvSpPr>
          <p:spPr>
            <a:xfrm>
              <a:off x="5271767" y="3047087"/>
              <a:ext cx="2356665" cy="10379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dirty="0"/>
                <a:t>Испытание систем управления и связи в режиме прямой радиовидимости</a:t>
              </a:r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dirty="0"/>
                <a:t>( II этап )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763791" y="4991220"/>
            <a:ext cx="1883444" cy="980358"/>
            <a:chOff x="5271767" y="3047087"/>
            <a:chExt cx="2356665" cy="1037981"/>
          </a:xfrm>
        </p:grpSpPr>
        <p:sp>
          <p:nvSpPr>
            <p:cNvPr id="23" name="Прямоугольник 22"/>
            <p:cNvSpPr/>
            <p:nvPr/>
          </p:nvSpPr>
          <p:spPr>
            <a:xfrm>
              <a:off x="5271767" y="3047087"/>
              <a:ext cx="2356665" cy="1037981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TextBox 23"/>
            <p:cNvSpPr txBox="1"/>
            <p:nvPr/>
          </p:nvSpPr>
          <p:spPr>
            <a:xfrm>
              <a:off x="5271767" y="3047087"/>
              <a:ext cx="2356665" cy="10379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Испытание систем управления и связи за пределами радиовидимости</a:t>
              </a:r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/>
                <a:t>( III </a:t>
              </a:r>
              <a:r>
                <a:rPr lang="ru-RU" sz="1200" kern="1200" dirty="0" smtClean="0"/>
                <a:t>этап )</a:t>
              </a:r>
              <a:endParaRPr lang="ru-RU" sz="1200" kern="1200" dirty="0"/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2742079" y="4991220"/>
            <a:ext cx="1702587" cy="980358"/>
            <a:chOff x="4655024" y="4482458"/>
            <a:chExt cx="3659470" cy="547093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4655024" y="4482458"/>
              <a:ext cx="3659470" cy="54709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TextBox 26"/>
            <p:cNvSpPr txBox="1"/>
            <p:nvPr/>
          </p:nvSpPr>
          <p:spPr>
            <a:xfrm>
              <a:off x="4655024" y="4482458"/>
              <a:ext cx="3659470" cy="54709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/>
                <a:t>Комплексные испытания систем управления на экспериментальной маршрутной сети</a:t>
              </a:r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/>
                <a:t>(</a:t>
              </a:r>
              <a:r>
                <a:rPr lang="en-US" sz="1100" kern="1200" dirty="0" smtClean="0"/>
                <a:t> IV </a:t>
              </a:r>
              <a:r>
                <a:rPr lang="ru-RU" sz="1100" kern="1200" dirty="0" smtClean="0"/>
                <a:t>этап )</a:t>
              </a:r>
              <a:endParaRPr lang="ru-RU" sz="1100" kern="1200" dirty="0"/>
            </a:p>
          </p:txBody>
        </p:sp>
      </p:grpSp>
      <p:cxnSp>
        <p:nvCxnSpPr>
          <p:cNvPr id="28" name="Прямая со стрелкой 27"/>
          <p:cNvCxnSpPr>
            <a:stCxn id="12" idx="3"/>
            <a:endCxn id="9" idx="1"/>
          </p:cNvCxnSpPr>
          <p:nvPr/>
        </p:nvCxnSpPr>
        <p:spPr>
          <a:xfrm>
            <a:off x="2647234" y="2622549"/>
            <a:ext cx="258156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stCxn id="18" idx="3"/>
            <a:endCxn id="21" idx="1"/>
          </p:cNvCxnSpPr>
          <p:nvPr/>
        </p:nvCxnSpPr>
        <p:spPr>
          <a:xfrm>
            <a:off x="2647234" y="4528780"/>
            <a:ext cx="94845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 flipH="1">
            <a:off x="2647234" y="4854813"/>
            <a:ext cx="94845" cy="150953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>
            <a:stCxn id="23" idx="3"/>
            <a:endCxn id="27" idx="1"/>
          </p:cNvCxnSpPr>
          <p:nvPr/>
        </p:nvCxnSpPr>
        <p:spPr>
          <a:xfrm>
            <a:off x="2647235" y="5481399"/>
            <a:ext cx="94844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 rot="10800000">
            <a:off x="3675028" y="3133228"/>
            <a:ext cx="1542" cy="286106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Группа 32"/>
          <p:cNvGrpSpPr/>
          <p:nvPr/>
        </p:nvGrpSpPr>
        <p:grpSpPr>
          <a:xfrm>
            <a:off x="763790" y="1272712"/>
            <a:ext cx="3680876" cy="644490"/>
            <a:chOff x="9113137" y="2929405"/>
            <a:chExt cx="1782599" cy="1462813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113137" y="2929405"/>
              <a:ext cx="1782599" cy="146281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TextBox 34"/>
            <p:cNvSpPr txBox="1"/>
            <p:nvPr/>
          </p:nvSpPr>
          <p:spPr>
            <a:xfrm>
              <a:off x="9113137" y="2929405"/>
              <a:ext cx="1782599" cy="146281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Финансово-экономическая модель экспериментальной маршрутной сети</a:t>
              </a: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5083976" y="1272712"/>
            <a:ext cx="2233383" cy="644490"/>
            <a:chOff x="8105215" y="555602"/>
            <a:chExt cx="2233382" cy="1487374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8105215" y="555602"/>
              <a:ext cx="2233382" cy="1487374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TextBox 37"/>
            <p:cNvSpPr txBox="1"/>
            <p:nvPr/>
          </p:nvSpPr>
          <p:spPr>
            <a:xfrm>
              <a:off x="8105215" y="555602"/>
              <a:ext cx="2233382" cy="148737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800" kern="1200" dirty="0" smtClean="0"/>
                <a:t>Финансово</a:t>
              </a:r>
              <a:r>
                <a:rPr lang="en-US" sz="800" kern="1200" dirty="0" smtClean="0"/>
                <a:t>-</a:t>
              </a:r>
              <a:r>
                <a:rPr lang="ru-RU" sz="800" kern="1200" dirty="0" smtClean="0"/>
                <a:t>экономическая модель</a:t>
              </a:r>
              <a:endParaRPr lang="en-US" sz="800" kern="1200" dirty="0" smtClean="0"/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800" kern="1200" dirty="0" smtClean="0"/>
                <a:t>Федеральной Беспилотной транспортной системы</a:t>
              </a:r>
            </a:p>
          </p:txBody>
        </p:sp>
      </p:grpSp>
      <p:cxnSp>
        <p:nvCxnSpPr>
          <p:cNvPr id="39" name="Прямая со стрелкой 38"/>
          <p:cNvCxnSpPr>
            <a:stCxn id="35" idx="3"/>
            <a:endCxn id="38" idx="1"/>
          </p:cNvCxnSpPr>
          <p:nvPr/>
        </p:nvCxnSpPr>
        <p:spPr>
          <a:xfrm>
            <a:off x="4444666" y="1594957"/>
            <a:ext cx="639310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Группа 39"/>
          <p:cNvGrpSpPr/>
          <p:nvPr/>
        </p:nvGrpSpPr>
        <p:grpSpPr>
          <a:xfrm>
            <a:off x="5083977" y="2111870"/>
            <a:ext cx="2233382" cy="3859708"/>
            <a:chOff x="0" y="638844"/>
            <a:chExt cx="4414808" cy="546747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0" y="638844"/>
              <a:ext cx="4414808" cy="546747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TextBox 41"/>
            <p:cNvSpPr txBox="1"/>
            <p:nvPr/>
          </p:nvSpPr>
          <p:spPr>
            <a:xfrm>
              <a:off x="0" y="638844"/>
              <a:ext cx="4414808" cy="54674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Коммерческая эксплуатация </a:t>
              </a:r>
              <a:r>
                <a:rPr lang="ru-RU" sz="1200" kern="1200" dirty="0" err="1" smtClean="0"/>
                <a:t>беспилотников</a:t>
              </a:r>
              <a:r>
                <a:rPr lang="ru-RU" sz="1200" kern="1200" dirty="0" smtClean="0"/>
                <a:t> в экспериментальной маршрутной сети</a:t>
              </a:r>
            </a:p>
          </p:txBody>
        </p:sp>
      </p:grpSp>
      <p:sp>
        <p:nvSpPr>
          <p:cNvPr id="43" name="Правая фигурная скобка 42"/>
          <p:cNvSpPr/>
          <p:nvPr/>
        </p:nvSpPr>
        <p:spPr>
          <a:xfrm>
            <a:off x="4539510" y="2020900"/>
            <a:ext cx="449624" cy="3913632"/>
          </a:xfrm>
          <a:prstGeom prst="rightBrace">
            <a:avLst>
              <a:gd name="adj1" fmla="val 39102"/>
              <a:gd name="adj2" fmla="val 50974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авая фигурная скобка 43"/>
          <p:cNvSpPr/>
          <p:nvPr/>
        </p:nvSpPr>
        <p:spPr>
          <a:xfrm rot="16200000">
            <a:off x="2507157" y="2246162"/>
            <a:ext cx="194145" cy="3680875"/>
          </a:xfrm>
          <a:prstGeom prst="rightBrace">
            <a:avLst>
              <a:gd name="adj1" fmla="val 61434"/>
              <a:gd name="adj2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5" name="Группа 44"/>
          <p:cNvGrpSpPr/>
          <p:nvPr/>
        </p:nvGrpSpPr>
        <p:grpSpPr>
          <a:xfrm>
            <a:off x="7956669" y="1271775"/>
            <a:ext cx="3191137" cy="4662757"/>
            <a:chOff x="3134147" y="0"/>
            <a:chExt cx="4782073" cy="605463"/>
          </a:xfrm>
        </p:grpSpPr>
        <p:sp>
          <p:nvSpPr>
            <p:cNvPr id="46" name="Прямоугольник 45"/>
            <p:cNvSpPr/>
            <p:nvPr/>
          </p:nvSpPr>
          <p:spPr>
            <a:xfrm>
              <a:off x="3134147" y="0"/>
              <a:ext cx="4782073" cy="60546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7" name="TextBox 46"/>
            <p:cNvSpPr txBox="1"/>
            <p:nvPr/>
          </p:nvSpPr>
          <p:spPr>
            <a:xfrm>
              <a:off x="3134147" y="0"/>
              <a:ext cx="4782073" cy="60546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kern="1200" dirty="0" smtClean="0"/>
                <a:t>Федеральная</a:t>
              </a:r>
              <a:endParaRPr lang="en-US" sz="2400" kern="1200" dirty="0" smtClean="0"/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kern="1200" dirty="0" smtClean="0"/>
                <a:t>Беспилотная</a:t>
              </a:r>
              <a:endParaRPr lang="en-US" sz="2400" kern="1200" dirty="0" smtClean="0"/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kern="1200" dirty="0" smtClean="0"/>
                <a:t>Транспортная</a:t>
              </a:r>
              <a:endParaRPr lang="en-US" sz="2400" kern="1200" dirty="0" smtClean="0"/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 smtClean="0"/>
                <a:t>C</a:t>
              </a:r>
              <a:r>
                <a:rPr lang="ru-RU" sz="2400" kern="1200" dirty="0" err="1" smtClean="0"/>
                <a:t>истема</a:t>
              </a:r>
              <a:endParaRPr lang="ru-RU" sz="2400" kern="1200" dirty="0" smtClean="0"/>
            </a:p>
          </p:txBody>
        </p:sp>
      </p:grpSp>
      <p:sp>
        <p:nvSpPr>
          <p:cNvPr id="48" name="Правая фигурная скобка 47"/>
          <p:cNvSpPr/>
          <p:nvPr/>
        </p:nvSpPr>
        <p:spPr>
          <a:xfrm>
            <a:off x="7409448" y="1313242"/>
            <a:ext cx="449624" cy="4658335"/>
          </a:xfrm>
          <a:prstGeom prst="rightBrace">
            <a:avLst>
              <a:gd name="adj1" fmla="val 39102"/>
              <a:gd name="adj2" fmla="val 50974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Штриховая стрелка вправо 50"/>
          <p:cNvSpPr/>
          <p:nvPr/>
        </p:nvSpPr>
        <p:spPr>
          <a:xfrm>
            <a:off x="777922" y="6127845"/>
            <a:ext cx="10495128" cy="620973"/>
          </a:xfrm>
          <a:prstGeom prst="stripedRightArrow">
            <a:avLst/>
          </a:prstGeom>
          <a:gradFill>
            <a:gsLst>
              <a:gs pos="0">
                <a:schemeClr val="tx2"/>
              </a:gs>
              <a:gs pos="87000">
                <a:schemeClr val="tx2">
                  <a:lumMod val="75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80000" rtlCol="0" anchor="t">
            <a:noAutofit/>
          </a:bodyPr>
          <a:lstStyle/>
          <a:p>
            <a:pPr marL="177800" indent="-177800" algn="l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ru-RU" sz="1400" dirty="0" smtClean="0"/>
          </a:p>
        </p:txBody>
      </p:sp>
    </p:spTree>
    <p:extLst>
      <p:ext uri="{BB962C8B-B14F-4D97-AF65-F5344CB8AC3E}">
        <p14:creationId xmlns:p14="http://schemas.microsoft.com/office/powerpoint/2010/main" val="163460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222,22,Реализация базового сценария позволит войти в Топ-5 лидирующих почтовых операторов и экспресс перевозчиков мира по прибыльности"/>
  <p:tag name="THINKCELLPRESENTATIONDONOTDELETE" val="&lt;?xml version=&quot;1.0&quot; encoding=&quot;UTF-16&quot; standalone=&quot;yes&quot;?&gt;&lt;root reqver=&quot;25060&quot;&gt;&lt;version val=&quot;283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81000000000000005329E+00&quot;&gt;&lt;m_msothmcolidx val=&quot;0&quot;/&gt;&lt;m_rgb r=&quot;C5&quot; g=&quot;B7&quot; b=&quot;83&quot;/&gt;&lt;m_nBrightness endver=&quot;26206&quot; val=&quot;0&quot;/&gt;&lt;/elem&gt;&lt;elem m_fUsage=&quot;9.00000000000000022204E-01&quot;&gt;&lt;m_msothmcolidx val=&quot;0&quot;/&gt;&lt;m_rgb r=&quot;FF&quot; g=&quot;D5&quot; b=&quot;5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Bdo10VjymC7Vc0gbiD6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igUuRUPqZKS0hbtmwd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XYS9jF7RpHYq9vjBD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XYS9jF7RpHYq9vjBD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Bdo10VjymC7Vc0gbiD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igUuRUPqZKS0hbtmw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ASn..aAe69Od2SMZQp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2uWGzAFBy2Wz8HAS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Базовые ">
  <a:themeElements>
    <a:clrScheme name="Другая 1">
      <a:dk1>
        <a:srgbClr val="000000"/>
      </a:dk1>
      <a:lt1>
        <a:srgbClr val="FFFFFF"/>
      </a:lt1>
      <a:dk2>
        <a:srgbClr val="0925E2"/>
      </a:dk2>
      <a:lt2>
        <a:srgbClr val="2C5697"/>
      </a:lt2>
      <a:accent1>
        <a:srgbClr val="0925E2"/>
      </a:accent1>
      <a:accent2>
        <a:srgbClr val="6597AE"/>
      </a:accent2>
      <a:accent3>
        <a:srgbClr val="6ACCA7"/>
      </a:accent3>
      <a:accent4>
        <a:srgbClr val="FFA214"/>
      </a:accent4>
      <a:accent5>
        <a:srgbClr val="B91516"/>
      </a:accent5>
      <a:accent6>
        <a:srgbClr val="071BB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tx2"/>
            </a:gs>
            <a:gs pos="87000">
              <a:schemeClr val="tx2">
                <a:lumMod val="75000"/>
              </a:schemeClr>
            </a:gs>
          </a:gsLst>
          <a:lin ang="5400000" scaled="1"/>
        </a:gradFill>
        <a:ln>
          <a:noFill/>
        </a:ln>
        <a:effectLst/>
      </a:spPr>
      <a:bodyPr lIns="144000" tIns="108000" rIns="144000" bIns="180000" rtlCol="0" anchor="t">
        <a:noAutofit/>
      </a:bodyPr>
      <a:lstStyle>
        <a:defPPr marL="177800" indent="-177800" algn="l">
          <a:lnSpc>
            <a:spcPct val="90000"/>
          </a:lnSpc>
          <a:spcAft>
            <a:spcPts val="1200"/>
          </a:spcAft>
          <a:buFont typeface="Arial" panose="020B0604020202020204" pitchFamily="34" charset="0"/>
          <a:buChar char="•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Базовые ">
  <a:themeElements>
    <a:clrScheme name="Другая 1">
      <a:dk1>
        <a:srgbClr val="000000"/>
      </a:dk1>
      <a:lt1>
        <a:srgbClr val="FFFFFF"/>
      </a:lt1>
      <a:dk2>
        <a:srgbClr val="0925E2"/>
      </a:dk2>
      <a:lt2>
        <a:srgbClr val="2C5697"/>
      </a:lt2>
      <a:accent1>
        <a:srgbClr val="0925E2"/>
      </a:accent1>
      <a:accent2>
        <a:srgbClr val="6597AE"/>
      </a:accent2>
      <a:accent3>
        <a:srgbClr val="6ACCA7"/>
      </a:accent3>
      <a:accent4>
        <a:srgbClr val="FFA214"/>
      </a:accent4>
      <a:accent5>
        <a:srgbClr val="B91516"/>
      </a:accent5>
      <a:accent6>
        <a:srgbClr val="071BB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tx2"/>
            </a:gs>
            <a:gs pos="87000">
              <a:schemeClr val="tx2">
                <a:lumMod val="75000"/>
              </a:schemeClr>
            </a:gs>
          </a:gsLst>
          <a:lin ang="5400000" scaled="1"/>
        </a:gradFill>
        <a:ln>
          <a:noFill/>
        </a:ln>
        <a:effectLst/>
      </a:spPr>
      <a:bodyPr lIns="144000" tIns="108000" rIns="144000" bIns="180000" rtlCol="0" anchor="t">
        <a:noAutofit/>
      </a:bodyPr>
      <a:lstStyle>
        <a:defPPr marL="177800" indent="-177800" algn="l">
          <a:lnSpc>
            <a:spcPct val="90000"/>
          </a:lnSpc>
          <a:spcAft>
            <a:spcPts val="1200"/>
          </a:spcAft>
          <a:buFont typeface="Arial" panose="020B0604020202020204" pitchFamily="34" charset="0"/>
          <a:buChar char="•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612</TotalTime>
  <Words>224</Words>
  <Application>Microsoft Office PowerPoint</Application>
  <PresentationFormat>Широкоэкранный</PresentationFormat>
  <Paragraphs>59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4" baseType="lpstr">
      <vt:lpstr>Arial</vt:lpstr>
      <vt:lpstr>Calibri</vt:lpstr>
      <vt:lpstr>Roboto</vt:lpstr>
      <vt:lpstr>Roboto Bold</vt:lpstr>
      <vt:lpstr>Roboto Light</vt:lpstr>
      <vt:lpstr>Times New Roman</vt:lpstr>
      <vt:lpstr>Базовые </vt:lpstr>
      <vt:lpstr>1_Базовые </vt:lpstr>
      <vt:lpstr>Слайд think-cell</vt:lpstr>
      <vt:lpstr>Презентация PowerPoint</vt:lpstr>
      <vt:lpstr>Почта России является системообразующим инфраструктурным предприятием, связывающим миллионы людей по всей стране</vt:lpstr>
      <vt:lpstr>БАС: реальность или далекая логистическая перспектива? </vt:lpstr>
      <vt:lpstr>Варианты экспериментальной маршрутная сеть</vt:lpstr>
      <vt:lpstr>Укрупненные этапы реализации проекта внедрения БАС 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циальной миссией Почты России является оказание широкого спектра социально-ориентированных цифровых сервисов для всех слоев населения РФ</dc:title>
  <dc:subject/>
  <dc:creator>Strategy Office Russian Post</dc:creator>
  <cp:keywords/>
  <dc:description/>
  <cp:lastModifiedBy>Баутин Георгий Георгиевич</cp:lastModifiedBy>
  <cp:revision>4075</cp:revision>
  <cp:lastPrinted>2020-07-02T14:36:36Z</cp:lastPrinted>
  <dcterms:created xsi:type="dcterms:W3CDTF">2020-03-25T09:00:21Z</dcterms:created>
  <dcterms:modified xsi:type="dcterms:W3CDTF">2021-04-02T09:07:08Z</dcterms:modified>
  <cp:category/>
</cp:coreProperties>
</file>